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3.xml" ContentType="application/vnd.openxmlformats-officedocument.presentationml.tags+xml"/>
  <Override PartName="/ppt/theme/themeOverride2.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7.xml" ContentType="application/vnd.openxmlformats-officedocument.presentationml.notesSlide+xml"/>
  <Override PartName="/ppt/tags/tag24.xml" ContentType="application/vnd.openxmlformats-officedocument.presentationml.tags+xml"/>
  <Override PartName="/ppt/notesSlides/notesSlide8.xml" ContentType="application/vnd.openxmlformats-officedocument.presentationml.notesSlide+xml"/>
  <Override PartName="/ppt/tags/tag25.xml" ContentType="application/vnd.openxmlformats-officedocument.presentationml.tags+xml"/>
  <Override PartName="/ppt/notesSlides/notesSlide9.xml" ContentType="application/vnd.openxmlformats-officedocument.presentationml.notesSlide+xml"/>
  <Override PartName="/ppt/tags/tag26.xml" ContentType="application/vnd.openxmlformats-officedocument.presentationml.tags+xml"/>
  <Override PartName="/ppt/notesSlides/notesSlide10.xml" ContentType="application/vnd.openxmlformats-officedocument.presentationml.notesSlide+xml"/>
  <Override PartName="/ppt/tags/tag27.xml" ContentType="application/vnd.openxmlformats-officedocument.presentationml.tags+xml"/>
  <Override PartName="/ppt/notesSlides/notesSlide11.xml" ContentType="application/vnd.openxmlformats-officedocument.presentationml.notesSlide+xml"/>
  <Override PartName="/ppt/tags/tag28.xml" ContentType="application/vnd.openxmlformats-officedocument.presentationml.tags+xml"/>
  <Override PartName="/ppt/notesSlides/notesSlide12.xml" ContentType="application/vnd.openxmlformats-officedocument.presentationml.notesSlide+xml"/>
  <Override PartName="/ppt/tags/tag29.xml" ContentType="application/vnd.openxmlformats-officedocument.presentationml.tags+xml"/>
  <Override PartName="/ppt/notesSlides/notesSlide13.xml" ContentType="application/vnd.openxmlformats-officedocument.presentationml.notesSlide+xml"/>
  <Override PartName="/ppt/tags/tag30.xml" ContentType="application/vnd.openxmlformats-officedocument.presentationml.tags+xml"/>
  <Override PartName="/ppt/notesSlides/notesSlide14.xml" ContentType="application/vnd.openxmlformats-officedocument.presentationml.notesSlide+xml"/>
  <Override PartName="/ppt/tags/tag31.xml" ContentType="application/vnd.openxmlformats-officedocument.presentationml.tags+xml"/>
  <Override PartName="/ppt/notesSlides/notesSlide15.xml" ContentType="application/vnd.openxmlformats-officedocument.presentationml.notesSlide+xml"/>
  <Override PartName="/ppt/tags/tag32.xml" ContentType="application/vnd.openxmlformats-officedocument.presentationml.tags+xml"/>
  <Override PartName="/ppt/notesSlides/notesSlide16.xml" ContentType="application/vnd.openxmlformats-officedocument.presentationml.notesSlide+xml"/>
  <Override PartName="/ppt/tags/tag33.xml" ContentType="application/vnd.openxmlformats-officedocument.presentationml.tags+xml"/>
  <Override PartName="/ppt/notesSlides/notesSlide17.xml" ContentType="application/vnd.openxmlformats-officedocument.presentationml.notesSlide+xml"/>
  <Override PartName="/ppt/tags/tag34.xml" ContentType="application/vnd.openxmlformats-officedocument.presentationml.tags+xml"/>
  <Override PartName="/ppt/notesSlides/notesSlide18.xml" ContentType="application/vnd.openxmlformats-officedocument.presentationml.notesSlide+xml"/>
  <Override PartName="/ppt/tags/tag35.xml" ContentType="application/vnd.openxmlformats-officedocument.presentationml.tags+xml"/>
  <Override PartName="/ppt/notesSlides/notesSlide19.xml" ContentType="application/vnd.openxmlformats-officedocument.presentationml.notesSlide+xml"/>
  <Override PartName="/ppt/tags/tag36.xml" ContentType="application/vnd.openxmlformats-officedocument.presentationml.tags+xml"/>
  <Override PartName="/ppt/notesSlides/notesSlide20.xml" ContentType="application/vnd.openxmlformats-officedocument.presentationml.notesSlide+xml"/>
  <Override PartName="/ppt/tags/tag37.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38.xml" ContentType="application/vnd.openxmlformats-officedocument.presentationml.tags+xml"/>
  <Override PartName="/ppt/notesSlides/notesSlide27.xml" ContentType="application/vnd.openxmlformats-officedocument.presentationml.notesSlide+xml"/>
  <Override PartName="/ppt/theme/themeOverride3.xml" ContentType="application/vnd.openxmlformats-officedocument.themeOverride+xml"/>
  <Override PartName="/ppt/tags/tag39.xml" ContentType="application/vnd.openxmlformats-officedocument.presentationml.tags+xml"/>
  <Override PartName="/ppt/notesSlides/notesSlide28.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49"/>
  </p:notesMasterIdLst>
  <p:handoutMasterIdLst>
    <p:handoutMasterId r:id="rId50"/>
  </p:handoutMasterIdLst>
  <p:sldIdLst>
    <p:sldId id="256" r:id="rId2"/>
    <p:sldId id="269" r:id="rId3"/>
    <p:sldId id="290" r:id="rId4"/>
    <p:sldId id="279" r:id="rId5"/>
    <p:sldId id="289" r:id="rId6"/>
    <p:sldId id="282" r:id="rId7"/>
    <p:sldId id="287" r:id="rId8"/>
    <p:sldId id="291" r:id="rId9"/>
    <p:sldId id="292" r:id="rId10"/>
    <p:sldId id="302" r:id="rId11"/>
    <p:sldId id="303" r:id="rId12"/>
    <p:sldId id="293" r:id="rId13"/>
    <p:sldId id="286" r:id="rId14"/>
    <p:sldId id="294" r:id="rId15"/>
    <p:sldId id="295" r:id="rId16"/>
    <p:sldId id="297" r:id="rId17"/>
    <p:sldId id="296" r:id="rId18"/>
    <p:sldId id="298" r:id="rId19"/>
    <p:sldId id="299" r:id="rId20"/>
    <p:sldId id="300" r:id="rId21"/>
    <p:sldId id="301" r:id="rId22"/>
    <p:sldId id="304" r:id="rId23"/>
    <p:sldId id="305" r:id="rId24"/>
    <p:sldId id="306" r:id="rId25"/>
    <p:sldId id="307" r:id="rId26"/>
    <p:sldId id="308" r:id="rId27"/>
    <p:sldId id="309" r:id="rId28"/>
    <p:sldId id="310" r:id="rId29"/>
    <p:sldId id="311" r:id="rId30"/>
    <p:sldId id="312" r:id="rId31"/>
    <p:sldId id="313" r:id="rId32"/>
    <p:sldId id="314" r:id="rId33"/>
    <p:sldId id="315" r:id="rId34"/>
    <p:sldId id="316" r:id="rId35"/>
    <p:sldId id="321" r:id="rId36"/>
    <p:sldId id="317" r:id="rId37"/>
    <p:sldId id="318" r:id="rId38"/>
    <p:sldId id="319" r:id="rId39"/>
    <p:sldId id="320" r:id="rId40"/>
    <p:sldId id="322" r:id="rId41"/>
    <p:sldId id="323" r:id="rId42"/>
    <p:sldId id="324" r:id="rId43"/>
    <p:sldId id="325" r:id="rId44"/>
    <p:sldId id="326" r:id="rId45"/>
    <p:sldId id="327" r:id="rId46"/>
    <p:sldId id="328" r:id="rId47"/>
    <p:sldId id="261" r:id="rId48"/>
  </p:sldIdLst>
  <p:sldSz cx="12192000" cy="6858000"/>
  <p:notesSz cx="6858000" cy="9144000"/>
  <p:custDataLst>
    <p:tags r:id="rId51"/>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73DF"/>
    <a:srgbClr val="49033C"/>
    <a:srgbClr val="4A42DA"/>
    <a:srgbClr val="C7450B"/>
    <a:srgbClr val="E24E0C"/>
    <a:srgbClr val="263183"/>
    <a:srgbClr val="4A41DA"/>
    <a:srgbClr val="6973EE"/>
    <a:srgbClr val="505BE8"/>
    <a:srgbClr val="A2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295" autoAdjust="0"/>
    <p:restoredTop sz="75935" autoAdjust="0"/>
  </p:normalViewPr>
  <p:slideViewPr>
    <p:cSldViewPr snapToGrid="0">
      <p:cViewPr varScale="1">
        <p:scale>
          <a:sx n="65" d="100"/>
          <a:sy n="65" d="100"/>
        </p:scale>
        <p:origin x="834" y="81"/>
      </p:cViewPr>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microsoft.com/office/2016/11/relationships/changesInfo" Target="changesInfos/changesInfo1.xml"/><Relationship Id="rId8" Type="http://schemas.openxmlformats.org/officeDocument/2006/relationships/slide" Target="slides/slide7.xml"/><Relationship Id="rId51" Type="http://schemas.openxmlformats.org/officeDocument/2006/relationships/tags" Target="tags/tag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uan Shihong" userId="0e40ecc899efa77d" providerId="LiveId" clId="{C77B90D9-5DF1-4896-B9E8-4A2B8491B5DC}"/>
    <pc:docChg chg="modSld">
      <pc:chgData name="Duan Shihong" userId="0e40ecc899efa77d" providerId="LiveId" clId="{C77B90D9-5DF1-4896-B9E8-4A2B8491B5DC}" dt="2021-11-01T09:37:04.677" v="16"/>
      <pc:docMkLst>
        <pc:docMk/>
      </pc:docMkLst>
      <pc:sldChg chg="modTransition">
        <pc:chgData name="Duan Shihong" userId="0e40ecc899efa77d" providerId="LiveId" clId="{C77B90D9-5DF1-4896-B9E8-4A2B8491B5DC}" dt="2021-11-01T09:37:04.676" v="14"/>
        <pc:sldMkLst>
          <pc:docMk/>
          <pc:sldMk cId="2271741893" sldId="256"/>
        </pc:sldMkLst>
      </pc:sldChg>
      <pc:sldChg chg="modNotesTx">
        <pc:chgData name="Duan Shihong" userId="0e40ecc899efa77d" providerId="LiveId" clId="{C77B90D9-5DF1-4896-B9E8-4A2B8491B5DC}" dt="2021-11-01T02:41:50.228" v="8"/>
        <pc:sldMkLst>
          <pc:docMk/>
          <pc:sldMk cId="3120102843" sldId="292"/>
        </pc:sldMkLst>
      </pc:sldChg>
      <pc:sldChg chg="modNotesTx">
        <pc:chgData name="Duan Shihong" userId="0e40ecc899efa77d" providerId="LiveId" clId="{C77B90D9-5DF1-4896-B9E8-4A2B8491B5DC}" dt="2021-11-01T02:44:06.364" v="12"/>
        <pc:sldMkLst>
          <pc:docMk/>
          <pc:sldMk cId="3491931345" sldId="302"/>
        </pc:sldMkLst>
      </pc:sldChg>
      <pc:sldChg chg="modTransition">
        <pc:chgData name="Duan Shihong" userId="0e40ecc899efa77d" providerId="LiveId" clId="{C77B90D9-5DF1-4896-B9E8-4A2B8491B5DC}" dt="2021-11-01T09:37:04.677" v="16"/>
        <pc:sldMkLst>
          <pc:docMk/>
          <pc:sldMk cId="780665674" sldId="316"/>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1/11/1</a:t>
            </a:fld>
            <a:endParaRPr lang="zh-CN" altLang="en-US"/>
          </a:p>
        </p:txBody>
      </p:sp>
      <p:sp>
        <p:nvSpPr>
          <p:cNvPr id="4" name="页脚占位符 3">
            <a:extLst>
              <a:ext uri="{FF2B5EF4-FFF2-40B4-BE49-F238E27FC236}">
                <a16:creationId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1/11/1</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量子力学在数据安全领域也有极高的研究价值，例如</a:t>
            </a:r>
            <a:r>
              <a:rPr lang="en-US" altLang="zh-CN" dirty="0"/>
              <a:t>RSA</a:t>
            </a:r>
            <a:r>
              <a:rPr lang="zh-CN" altLang="en-US" dirty="0"/>
              <a:t>加密算法被广泛应用于现在的计算机通信中，其核心是通过提高破解的计算成本来增强安全性。要破解一个现在常用的</a:t>
            </a:r>
            <a:r>
              <a:rPr lang="en-US" altLang="zh-CN" dirty="0"/>
              <a:t>RSA</a:t>
            </a:r>
            <a:r>
              <a:rPr lang="zh-CN" altLang="en-US" dirty="0"/>
              <a:t>密码系统，用当前最快的计算机也需要花费</a:t>
            </a:r>
            <a:r>
              <a:rPr lang="en-US" altLang="zh-CN" dirty="0"/>
              <a:t>60</a:t>
            </a:r>
            <a:r>
              <a:rPr lang="zh-CN" altLang="en-US" dirty="0"/>
              <a:t>万年的时间。</a:t>
            </a:r>
            <a:r>
              <a:rPr lang="en-US" altLang="zh-CN" dirty="0"/>
              <a:t>1994</a:t>
            </a:r>
            <a:r>
              <a:rPr lang="zh-CN" altLang="en-US" dirty="0"/>
              <a:t>年</a:t>
            </a:r>
            <a:r>
              <a:rPr lang="en-US" altLang="zh-CN" dirty="0"/>
              <a:t>Peter Shor</a:t>
            </a:r>
            <a:r>
              <a:rPr lang="zh-CN" altLang="en-US" dirty="0"/>
              <a:t>提出了</a:t>
            </a:r>
            <a:r>
              <a:rPr lang="en-US" altLang="zh-CN" dirty="0"/>
              <a:t>Shor</a:t>
            </a:r>
            <a:r>
              <a:rPr lang="zh-CN" altLang="en-US" dirty="0"/>
              <a:t>算法，用这个方法量子计算机只需要三个小时即可破解如今的</a:t>
            </a:r>
            <a:r>
              <a:rPr lang="en-US" altLang="zh-CN" dirty="0"/>
              <a:t>RSA</a:t>
            </a:r>
            <a:r>
              <a:rPr lang="zh-CN" altLang="en-US" dirty="0"/>
              <a:t>密码系统。为了应对量子计算机对通信安全的威胁，科学家们提出了同样的基于量子力学性质实现的安全通信方式，量子秘钥分发</a:t>
            </a:r>
            <a:r>
              <a:rPr lang="en-US" altLang="zh-CN" dirty="0"/>
              <a:t>quantum key distribution</a:t>
            </a:r>
            <a:r>
              <a:rPr lang="zh-CN" altLang="en-US" dirty="0"/>
              <a:t>（</a:t>
            </a:r>
            <a:r>
              <a:rPr lang="en-US" altLang="zh-CN" dirty="0"/>
              <a:t>QKD</a:t>
            </a:r>
            <a:r>
              <a:rPr lang="zh-CN" altLang="en-US" dirty="0"/>
              <a:t>）。这种加密方式的安全性来源于量子力学定律而非计算复杂性。无论使用多么强大的计算机都无法破解</a:t>
            </a:r>
            <a:r>
              <a:rPr lang="en-US" altLang="zh-CN" dirty="0"/>
              <a:t>QKD</a:t>
            </a:r>
            <a:r>
              <a:rPr lang="zh-CN" altLang="en-US" dirty="0"/>
              <a:t>系统。所以有了</a:t>
            </a:r>
            <a:r>
              <a:rPr lang="en-US" altLang="zh-CN" dirty="0"/>
              <a:t>QKD</a:t>
            </a:r>
            <a:r>
              <a:rPr lang="zh-CN" altLang="en-US" dirty="0"/>
              <a:t>即使可以破解</a:t>
            </a:r>
            <a:r>
              <a:rPr lang="en-US" altLang="zh-CN" dirty="0"/>
              <a:t>RSA</a:t>
            </a:r>
            <a:r>
              <a:rPr lang="zh-CN" altLang="en-US" dirty="0"/>
              <a:t>的量子计算机问世也没关系了。（可以之后了解一下</a:t>
            </a:r>
            <a:r>
              <a:rPr lang="en-US" altLang="zh-CN" dirty="0"/>
              <a:t>BB84</a:t>
            </a:r>
            <a:r>
              <a:rPr lang="zh-CN" altLang="en-US" dirty="0"/>
              <a:t>协议如何产生量子密钥的）时至今日</a:t>
            </a:r>
            <a:r>
              <a:rPr lang="en-US" altLang="zh-CN" dirty="0"/>
              <a:t>QKD</a:t>
            </a:r>
            <a:r>
              <a:rPr lang="zh-CN" altLang="en-US" dirty="0"/>
              <a:t>经过了几十年的发展，科学家们提出了许多不同的</a:t>
            </a:r>
            <a:r>
              <a:rPr lang="en-US" altLang="zh-CN" dirty="0"/>
              <a:t>QKD</a:t>
            </a:r>
            <a:r>
              <a:rPr lang="zh-CN" altLang="en-US" dirty="0"/>
              <a:t>协议，通信距离和安全性有了巨大的飞跃，正朝着商用化 实用化的目标不断前行 。虽然量子计算机如今还处于起步阶段，但全球各主要国家企业早已纷纷加码布局量子计算</a:t>
            </a:r>
          </a:p>
        </p:txBody>
      </p:sp>
      <p:sp>
        <p:nvSpPr>
          <p:cNvPr id="4" name="灯片编号占位符 3"/>
          <p:cNvSpPr>
            <a:spLocks noGrp="1"/>
          </p:cNvSpPr>
          <p:nvPr>
            <p:ph type="sldNum" sz="quarter" idx="10"/>
          </p:nvPr>
        </p:nvSpPr>
        <p:spPr/>
        <p:txBody>
          <a:bodyPr/>
          <a:lstStyle/>
          <a:p>
            <a:fld id="{E9E6FDB6-6D2B-46C1-9FA1-D82906A37C3A}" type="slidenum">
              <a:rPr lang="zh-CN" altLang="en-US" smtClean="0"/>
              <a:t>5</a:t>
            </a:fld>
            <a:endParaRPr lang="zh-CN" altLang="en-US"/>
          </a:p>
        </p:txBody>
      </p:sp>
    </p:spTree>
    <p:extLst>
      <p:ext uri="{BB962C8B-B14F-4D97-AF65-F5344CB8AC3E}">
        <p14:creationId xmlns:p14="http://schemas.microsoft.com/office/powerpoint/2010/main" val="7738861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物理学家认为，在探测器对光子进行观察时，不可避免地搅扰了光子的运动，致使干涉图样被洗掉。我们想要知道光子究竟是通过了哪个缝隙除了在狭缝处放置探测器外，我们还可以用间接的方式去获取这个信息。</a:t>
            </a:r>
            <a:r>
              <a:rPr lang="en-US" altLang="zh-CN" dirty="0"/>
              <a:t>1982</a:t>
            </a:r>
            <a:r>
              <a:rPr lang="zh-CN" altLang="en-US" dirty="0"/>
              <a:t>年物理学家史库里与德鲁提出了量子擦除实验思想，后来科学家恩格勒等人给出了实验结果</a:t>
            </a:r>
          </a:p>
        </p:txBody>
      </p:sp>
      <p:sp>
        <p:nvSpPr>
          <p:cNvPr id="4" name="灯片编号占位符 3"/>
          <p:cNvSpPr>
            <a:spLocks noGrp="1"/>
          </p:cNvSpPr>
          <p:nvPr>
            <p:ph type="sldNum" sz="quarter" idx="10"/>
          </p:nvPr>
        </p:nvSpPr>
        <p:spPr/>
        <p:txBody>
          <a:bodyPr/>
          <a:lstStyle/>
          <a:p>
            <a:fld id="{E9E6FDB6-6D2B-46C1-9FA1-D82906A37C3A}" type="slidenum">
              <a:rPr lang="zh-CN" altLang="en-US" smtClean="0"/>
              <a:t>24</a:t>
            </a:fld>
            <a:endParaRPr lang="zh-CN" altLang="en-US"/>
          </a:p>
        </p:txBody>
      </p:sp>
    </p:spTree>
    <p:extLst>
      <p:ext uri="{BB962C8B-B14F-4D97-AF65-F5344CB8AC3E}">
        <p14:creationId xmlns:p14="http://schemas.microsoft.com/office/powerpoint/2010/main" val="14830154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量子擦除实验总体分为三个阶段。第一个阶段，让光子枪打出一束光子让光子经过非线性</a:t>
            </a:r>
            <a:r>
              <a:rPr lang="en-US" altLang="zh-CN" dirty="0"/>
              <a:t>BBO</a:t>
            </a:r>
            <a:r>
              <a:rPr lang="zh-CN" altLang="en-US" dirty="0"/>
              <a:t>（偏硼酸钡晶体），</a:t>
            </a:r>
            <a:r>
              <a:rPr lang="en-US" altLang="zh-CN" dirty="0"/>
              <a:t>BBO</a:t>
            </a:r>
            <a:r>
              <a:rPr lang="zh-CN" altLang="en-US" dirty="0"/>
              <a:t>的作用是产生相互纠缠的光子对。根据量子纠缠理论，一旦两个光子形成纠缠态，只要对其中一个光子进行偏振性测量，发现是向上偏振，那么另一个不用测量就知道一定是向下偏振。两个光子沿着两条线路行驶，线路</a:t>
            </a:r>
            <a:r>
              <a:rPr lang="en-US" altLang="zh-CN" dirty="0"/>
              <a:t>1</a:t>
            </a:r>
            <a:r>
              <a:rPr lang="zh-CN" altLang="en-US" dirty="0"/>
              <a:t>光子到达探测器</a:t>
            </a:r>
            <a:r>
              <a:rPr lang="en-US" altLang="zh-CN" dirty="0"/>
              <a:t>A</a:t>
            </a:r>
            <a:r>
              <a:rPr lang="zh-CN" altLang="en-US" dirty="0"/>
              <a:t>，线路</a:t>
            </a:r>
            <a:r>
              <a:rPr lang="en-US" altLang="zh-CN" dirty="0"/>
              <a:t>2</a:t>
            </a:r>
            <a:r>
              <a:rPr lang="zh-CN" altLang="en-US" dirty="0"/>
              <a:t>光子经过双缝到达探测器</a:t>
            </a:r>
            <a:r>
              <a:rPr lang="en-US" altLang="zh-CN" dirty="0"/>
              <a:t>B</a:t>
            </a:r>
            <a:r>
              <a:rPr lang="zh-CN" altLang="en-US" dirty="0"/>
              <a:t>，探测器</a:t>
            </a:r>
            <a:r>
              <a:rPr lang="en-US" altLang="zh-CN" dirty="0"/>
              <a:t>B</a:t>
            </a:r>
            <a:r>
              <a:rPr lang="zh-CN" altLang="en-US" dirty="0"/>
              <a:t>可以检测是否得到干涉条纹。实验结果探测器</a:t>
            </a:r>
            <a:r>
              <a:rPr lang="en-US" altLang="zh-CN" dirty="0"/>
              <a:t>B</a:t>
            </a:r>
            <a:r>
              <a:rPr lang="zh-CN" altLang="en-US" dirty="0"/>
              <a:t>确实得到了干涉条纹；</a:t>
            </a:r>
          </a:p>
        </p:txBody>
      </p:sp>
      <p:sp>
        <p:nvSpPr>
          <p:cNvPr id="4" name="灯片编号占位符 3"/>
          <p:cNvSpPr>
            <a:spLocks noGrp="1"/>
          </p:cNvSpPr>
          <p:nvPr>
            <p:ph type="sldNum" sz="quarter" idx="10"/>
          </p:nvPr>
        </p:nvSpPr>
        <p:spPr/>
        <p:txBody>
          <a:bodyPr/>
          <a:lstStyle/>
          <a:p>
            <a:fld id="{E9E6FDB6-6D2B-46C1-9FA1-D82906A37C3A}" type="slidenum">
              <a:rPr lang="zh-CN" altLang="en-US" smtClean="0"/>
              <a:t>25</a:t>
            </a:fld>
            <a:endParaRPr lang="zh-CN" altLang="en-US"/>
          </a:p>
        </p:txBody>
      </p:sp>
    </p:spTree>
    <p:extLst>
      <p:ext uri="{BB962C8B-B14F-4D97-AF65-F5344CB8AC3E}">
        <p14:creationId xmlns:p14="http://schemas.microsoft.com/office/powerpoint/2010/main" val="20241092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第二个实验我们在双缝前放置两个</a:t>
            </a:r>
            <a:r>
              <a:rPr lang="en-US" altLang="zh-CN" dirty="0"/>
              <a:t>1/4</a:t>
            </a:r>
            <a:r>
              <a:rPr lang="zh-CN" altLang="en-US" dirty="0"/>
              <a:t>玻片，一个光子经过这一玻片时根据这一光子是向上偏振还是向下偏振玻片会使这个光子变成顺时针或者逆时针偏振。我们分析第一个实验，假设线路</a:t>
            </a:r>
            <a:r>
              <a:rPr lang="en-US" altLang="zh-CN" dirty="0"/>
              <a:t>1</a:t>
            </a:r>
            <a:r>
              <a:rPr lang="zh-CN" altLang="en-US" dirty="0"/>
              <a:t>的光子探测器</a:t>
            </a:r>
            <a:r>
              <a:rPr lang="en-US" altLang="zh-CN" dirty="0"/>
              <a:t>A</a:t>
            </a:r>
            <a:r>
              <a:rPr lang="zh-CN" altLang="en-US" dirty="0"/>
              <a:t>测得偏振是向上，根据纠缠特性经过线路</a:t>
            </a:r>
            <a:r>
              <a:rPr lang="en-US" altLang="zh-CN" dirty="0"/>
              <a:t>2</a:t>
            </a:r>
            <a:r>
              <a:rPr lang="zh-CN" altLang="en-US" dirty="0"/>
              <a:t>的光子一定向下偏振。但是我们并不知道线路</a:t>
            </a:r>
            <a:r>
              <a:rPr lang="en-US" altLang="zh-CN" dirty="0"/>
              <a:t>2</a:t>
            </a:r>
            <a:r>
              <a:rPr lang="zh-CN" altLang="en-US" dirty="0"/>
              <a:t>的光子经过了哪个狭缝，于是在狭缝前放置了</a:t>
            </a:r>
            <a:r>
              <a:rPr lang="en-US" altLang="zh-CN" dirty="0"/>
              <a:t>1/4</a:t>
            </a:r>
            <a:r>
              <a:rPr lang="zh-CN" altLang="en-US" dirty="0"/>
              <a:t>玻片甲和乙。偏振向下的光子如果经过甲会变成逆时针偏振，经过乙则变成顺时针偏振。所以我们在探测器</a:t>
            </a:r>
            <a:r>
              <a:rPr lang="en-US" altLang="zh-CN" dirty="0"/>
              <a:t>B</a:t>
            </a:r>
            <a:r>
              <a:rPr lang="zh-CN" altLang="en-US" dirty="0"/>
              <a:t>处测量光子是逆时针还是顺时针就可以判断光子经过了哪个狭缝。</a:t>
            </a:r>
            <a:r>
              <a:rPr lang="en-US" altLang="zh-CN" dirty="0"/>
              <a:t>1/4</a:t>
            </a:r>
            <a:r>
              <a:rPr lang="zh-CN" altLang="en-US" dirty="0"/>
              <a:t>玻片相当于对光子做了标记。神奇的一幕出现了</a:t>
            </a:r>
            <a:r>
              <a:rPr lang="en-US" altLang="zh-CN" dirty="0"/>
              <a:t>——</a:t>
            </a:r>
            <a:r>
              <a:rPr lang="zh-CN" altLang="en-US" dirty="0"/>
              <a:t>干涉条纹消失了！</a:t>
            </a:r>
          </a:p>
        </p:txBody>
      </p:sp>
      <p:sp>
        <p:nvSpPr>
          <p:cNvPr id="4" name="灯片编号占位符 3"/>
          <p:cNvSpPr>
            <a:spLocks noGrp="1"/>
          </p:cNvSpPr>
          <p:nvPr>
            <p:ph type="sldNum" sz="quarter" idx="10"/>
          </p:nvPr>
        </p:nvSpPr>
        <p:spPr/>
        <p:txBody>
          <a:bodyPr/>
          <a:lstStyle/>
          <a:p>
            <a:fld id="{E9E6FDB6-6D2B-46C1-9FA1-D82906A37C3A}" type="slidenum">
              <a:rPr lang="zh-CN" altLang="en-US" smtClean="0"/>
              <a:t>26</a:t>
            </a:fld>
            <a:endParaRPr lang="zh-CN" altLang="en-US"/>
          </a:p>
        </p:txBody>
      </p:sp>
    </p:spTree>
    <p:extLst>
      <p:ext uri="{BB962C8B-B14F-4D97-AF65-F5344CB8AC3E}">
        <p14:creationId xmlns:p14="http://schemas.microsoft.com/office/powerpoint/2010/main" val="10257857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第三个实验我们继续改进实验，线路</a:t>
            </a:r>
            <a:r>
              <a:rPr lang="en-US" altLang="zh-CN" dirty="0"/>
              <a:t>2</a:t>
            </a:r>
            <a:r>
              <a:rPr lang="zh-CN" altLang="en-US" dirty="0"/>
              <a:t>不作改变，在线路</a:t>
            </a:r>
            <a:r>
              <a:rPr lang="en-US" altLang="zh-CN" dirty="0"/>
              <a:t>1</a:t>
            </a:r>
            <a:r>
              <a:rPr lang="zh-CN" altLang="en-US" dirty="0"/>
              <a:t>光子到达探测器</a:t>
            </a:r>
            <a:r>
              <a:rPr lang="en-US" altLang="zh-CN" dirty="0"/>
              <a:t>A</a:t>
            </a:r>
            <a:r>
              <a:rPr lang="zh-CN" altLang="en-US" dirty="0"/>
              <a:t>之前加入一个起偏器，起偏器的作用是可以使得光子的偏振既不是向上也不是向下，而是斜向，那根据纠缠理论线路</a:t>
            </a:r>
            <a:r>
              <a:rPr lang="en-US" altLang="zh-CN" dirty="0"/>
              <a:t>2</a:t>
            </a:r>
            <a:r>
              <a:rPr lang="zh-CN" altLang="en-US" dirty="0"/>
              <a:t>的光子偏振方向也会改变。当甲乙两个玻片收到的光子偏振是斜着的时候它会使光子的偏振有可能顺时针或逆时针旋转，这样再探测器</a:t>
            </a:r>
            <a:r>
              <a:rPr lang="en-US" altLang="zh-CN" dirty="0"/>
              <a:t>B</a:t>
            </a:r>
            <a:r>
              <a:rPr lang="zh-CN" altLang="en-US" dirty="0"/>
              <a:t>处我们无法根据偏振来判断光子是穿过了哪个缝隙。也就是说我们擦除了线路</a:t>
            </a:r>
            <a:r>
              <a:rPr lang="en-US" altLang="zh-CN" dirty="0"/>
              <a:t>2</a:t>
            </a:r>
            <a:r>
              <a:rPr lang="zh-CN" altLang="en-US" dirty="0"/>
              <a:t>对光子做的标记。此时神奇的一幕再次出现，干涉条纹又回来了！通过以上实验可以看出，一旦我们侦知光子经过了哪个缝隙，干涉条纹消失，光表现为粒子。反之，如果我们不能得知光子的路径时，干涉条纹出现，光表现为波</a:t>
            </a:r>
          </a:p>
        </p:txBody>
      </p:sp>
      <p:sp>
        <p:nvSpPr>
          <p:cNvPr id="4" name="灯片编号占位符 3"/>
          <p:cNvSpPr>
            <a:spLocks noGrp="1"/>
          </p:cNvSpPr>
          <p:nvPr>
            <p:ph type="sldNum" sz="quarter" idx="10"/>
          </p:nvPr>
        </p:nvSpPr>
        <p:spPr/>
        <p:txBody>
          <a:bodyPr/>
          <a:lstStyle/>
          <a:p>
            <a:fld id="{E9E6FDB6-6D2B-46C1-9FA1-D82906A37C3A}" type="slidenum">
              <a:rPr lang="zh-CN" altLang="en-US" smtClean="0"/>
              <a:t>27</a:t>
            </a:fld>
            <a:endParaRPr lang="zh-CN" altLang="en-US"/>
          </a:p>
        </p:txBody>
      </p:sp>
    </p:spTree>
    <p:extLst>
      <p:ext uri="{BB962C8B-B14F-4D97-AF65-F5344CB8AC3E}">
        <p14:creationId xmlns:p14="http://schemas.microsoft.com/office/powerpoint/2010/main" val="39100076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我们现在的行为能影响过去吗？</a:t>
            </a:r>
            <a:r>
              <a:rPr lang="en-US" altLang="zh-CN" dirty="0"/>
              <a:t>1979</a:t>
            </a:r>
            <a:r>
              <a:rPr lang="zh-CN" altLang="en-US" dirty="0"/>
              <a:t>年爱因斯坦的同事约翰</a:t>
            </a:r>
            <a:r>
              <a:rPr lang="en-US" altLang="zh-CN" dirty="0"/>
              <a:t>·</a:t>
            </a:r>
            <a:r>
              <a:rPr lang="zh-CN" altLang="en-US" dirty="0"/>
              <a:t>惠勒提出了一个非常吃惊的构想，也就是所谓的延迟实验。在惠勒的构想提出五年后，马里兰大学的卡洛尔</a:t>
            </a:r>
            <a:r>
              <a:rPr lang="en-US" altLang="zh-CN" dirty="0"/>
              <a:t>·</a:t>
            </a:r>
            <a:r>
              <a:rPr lang="zh-CN" altLang="en-US" dirty="0"/>
              <a:t>阿雷和其同事便证实了该思维实验。该实验结果被解读为“我们现在的行为可以影响过去”。实验过程是这样的：激光脉冲源发射一个光子，光子到达半反半透镜</a:t>
            </a:r>
            <a:r>
              <a:rPr lang="en-US" altLang="zh-CN" dirty="0"/>
              <a:t>1</a:t>
            </a:r>
            <a:r>
              <a:rPr lang="zh-CN" altLang="en-US" dirty="0"/>
              <a:t>后有</a:t>
            </a:r>
            <a:r>
              <a:rPr lang="en-US" altLang="zh-CN" dirty="0"/>
              <a:t>50%</a:t>
            </a:r>
            <a:r>
              <a:rPr lang="zh-CN" altLang="en-US" dirty="0"/>
              <a:t>的可能会被反射到上方，在经过上方的全反镜反射之后被探测器</a:t>
            </a:r>
            <a:r>
              <a:rPr lang="en-US" altLang="zh-CN" dirty="0"/>
              <a:t>D2</a:t>
            </a:r>
            <a:r>
              <a:rPr lang="zh-CN" altLang="en-US" dirty="0"/>
              <a:t>吸收，也有</a:t>
            </a:r>
            <a:r>
              <a:rPr lang="en-US" altLang="zh-CN" dirty="0"/>
              <a:t>50%</a:t>
            </a:r>
            <a:r>
              <a:rPr lang="zh-CN" altLang="en-US" dirty="0"/>
              <a:t>的可能不发生反射直接穿过透镜</a:t>
            </a:r>
            <a:r>
              <a:rPr lang="en-US" altLang="zh-CN" dirty="0"/>
              <a:t>1</a:t>
            </a:r>
            <a:r>
              <a:rPr lang="zh-CN" altLang="en-US" dirty="0"/>
              <a:t>，经过下方的全反镜反射后被探测器</a:t>
            </a:r>
            <a:r>
              <a:rPr lang="en-US" altLang="zh-CN" dirty="0"/>
              <a:t>D1</a:t>
            </a:r>
            <a:r>
              <a:rPr lang="zh-CN" altLang="en-US" dirty="0"/>
              <a:t>吸收。这样我们就知道光子通过了哪条线路。但是我们可以在两条线路的交汇处再插入一个半透镜</a:t>
            </a:r>
            <a:r>
              <a:rPr lang="en-US" altLang="zh-CN" dirty="0"/>
              <a:t>2</a:t>
            </a:r>
            <a:r>
              <a:rPr lang="zh-CN" altLang="en-US" dirty="0"/>
              <a:t>，如果光子是沿着两条线路到达半透镜</a:t>
            </a:r>
            <a:r>
              <a:rPr lang="en-US" altLang="zh-CN" dirty="0"/>
              <a:t>2</a:t>
            </a:r>
            <a:r>
              <a:rPr lang="zh-CN" altLang="en-US" dirty="0"/>
              <a:t>那么光子就会在透镜</a:t>
            </a:r>
            <a:r>
              <a:rPr lang="en-US" altLang="zh-CN" dirty="0"/>
              <a:t>2</a:t>
            </a:r>
            <a:r>
              <a:rPr lang="zh-CN" altLang="en-US" dirty="0"/>
              <a:t>处发生自我干涉。根据波动理论通过调整透镜</a:t>
            </a:r>
            <a:r>
              <a:rPr lang="en-US" altLang="zh-CN" dirty="0"/>
              <a:t>2</a:t>
            </a:r>
            <a:r>
              <a:rPr lang="zh-CN" altLang="en-US" dirty="0"/>
              <a:t>的位置在探测器</a:t>
            </a:r>
            <a:r>
              <a:rPr lang="en-US" altLang="zh-CN" dirty="0"/>
              <a:t>D2</a:t>
            </a:r>
            <a:r>
              <a:rPr lang="zh-CN" altLang="en-US" dirty="0"/>
              <a:t>处使两束光总是反相位叠加从而</a:t>
            </a:r>
            <a:r>
              <a:rPr lang="en-US" altLang="zh-CN" dirty="0"/>
              <a:t>D2</a:t>
            </a:r>
            <a:r>
              <a:rPr lang="zh-CN" altLang="en-US" dirty="0"/>
              <a:t>永远不亮；在探测器</a:t>
            </a:r>
            <a:r>
              <a:rPr lang="en-US" altLang="zh-CN" dirty="0"/>
              <a:t>D1</a:t>
            </a:r>
            <a:r>
              <a:rPr lang="zh-CN" altLang="en-US" dirty="0"/>
              <a:t>处使这两束光总是同相位叠加，探测器</a:t>
            </a:r>
            <a:r>
              <a:rPr lang="en-US" altLang="zh-CN" dirty="0"/>
              <a:t>D1</a:t>
            </a:r>
            <a:r>
              <a:rPr lang="zh-CN" altLang="en-US" dirty="0"/>
              <a:t>会常亮并且亮度增强。</a:t>
            </a:r>
          </a:p>
        </p:txBody>
      </p:sp>
      <p:sp>
        <p:nvSpPr>
          <p:cNvPr id="4" name="灯片编号占位符 3"/>
          <p:cNvSpPr>
            <a:spLocks noGrp="1"/>
          </p:cNvSpPr>
          <p:nvPr>
            <p:ph type="sldNum" sz="quarter" idx="10"/>
          </p:nvPr>
        </p:nvSpPr>
        <p:spPr/>
        <p:txBody>
          <a:bodyPr/>
          <a:lstStyle/>
          <a:p>
            <a:fld id="{E9E6FDB6-6D2B-46C1-9FA1-D82906A37C3A}" type="slidenum">
              <a:rPr lang="zh-CN" altLang="en-US" smtClean="0"/>
              <a:t>28</a:t>
            </a:fld>
            <a:endParaRPr lang="zh-CN" altLang="en-US"/>
          </a:p>
        </p:txBody>
      </p:sp>
    </p:spTree>
    <p:extLst>
      <p:ext uri="{BB962C8B-B14F-4D97-AF65-F5344CB8AC3E}">
        <p14:creationId xmlns:p14="http://schemas.microsoft.com/office/powerpoint/2010/main" val="38857448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第一次实验我们取消半透镜</a:t>
            </a:r>
            <a:r>
              <a:rPr lang="en-US" altLang="zh-CN" dirty="0"/>
              <a:t>2</a:t>
            </a:r>
            <a:r>
              <a:rPr lang="zh-CN" altLang="en-US" dirty="0"/>
              <a:t>，多次实验结果显示</a:t>
            </a:r>
            <a:r>
              <a:rPr lang="en-US" altLang="zh-CN" dirty="0"/>
              <a:t>D1</a:t>
            </a:r>
            <a:r>
              <a:rPr lang="zh-CN" altLang="en-US" dirty="0"/>
              <a:t>和</a:t>
            </a:r>
            <a:r>
              <a:rPr lang="en-US" altLang="zh-CN" dirty="0"/>
              <a:t>D2</a:t>
            </a:r>
            <a:r>
              <a:rPr lang="zh-CN" altLang="en-US" dirty="0"/>
              <a:t>只有一个探测器会亮，这说明光子要么通过了线路</a:t>
            </a:r>
            <a:r>
              <a:rPr lang="en-US" altLang="zh-CN" dirty="0"/>
              <a:t>1</a:t>
            </a:r>
            <a:r>
              <a:rPr lang="zh-CN" altLang="en-US" dirty="0"/>
              <a:t>，要么通过了线路</a:t>
            </a:r>
            <a:r>
              <a:rPr lang="en-US" altLang="zh-CN" dirty="0"/>
              <a:t>2</a:t>
            </a:r>
            <a:r>
              <a:rPr lang="zh-CN" altLang="en-US" dirty="0"/>
              <a:t>，不会同时走两条线路。第二次实验我们加入半透镜</a:t>
            </a:r>
            <a:r>
              <a:rPr lang="en-US" altLang="zh-CN" dirty="0"/>
              <a:t>2</a:t>
            </a:r>
            <a:r>
              <a:rPr lang="zh-CN" altLang="en-US" dirty="0"/>
              <a:t>，实验结果显示</a:t>
            </a:r>
            <a:r>
              <a:rPr lang="en-US" altLang="zh-CN" dirty="0"/>
              <a:t>D1</a:t>
            </a:r>
            <a:r>
              <a:rPr lang="zh-CN" altLang="en-US" dirty="0"/>
              <a:t>一直亮，</a:t>
            </a:r>
            <a:r>
              <a:rPr lang="en-US" altLang="zh-CN" dirty="0"/>
              <a:t>D2</a:t>
            </a:r>
            <a:r>
              <a:rPr lang="zh-CN" altLang="en-US" dirty="0"/>
              <a:t>永远不亮，这说明光子在半透镜</a:t>
            </a:r>
            <a:r>
              <a:rPr lang="en-US" altLang="zh-CN" dirty="0"/>
              <a:t>2</a:t>
            </a:r>
            <a:r>
              <a:rPr lang="zh-CN" altLang="en-US" dirty="0"/>
              <a:t>处发生了干涉，从而说明光子在到达半透镜</a:t>
            </a:r>
            <a:r>
              <a:rPr lang="en-US" altLang="zh-CN" dirty="0"/>
              <a:t>1</a:t>
            </a:r>
            <a:r>
              <a:rPr lang="zh-CN" altLang="en-US" dirty="0"/>
              <a:t>后同时走了两条线路。根据量子力学哥本哈根诠释，光子处于通过线路</a:t>
            </a:r>
            <a:r>
              <a:rPr lang="en-US" altLang="zh-CN" dirty="0"/>
              <a:t>1</a:t>
            </a:r>
            <a:r>
              <a:rPr lang="zh-CN" altLang="en-US" dirty="0"/>
              <a:t>和线路</a:t>
            </a:r>
            <a:r>
              <a:rPr lang="en-US" altLang="zh-CN" dirty="0"/>
              <a:t>2</a:t>
            </a:r>
            <a:r>
              <a:rPr lang="zh-CN" altLang="en-US" dirty="0"/>
              <a:t>的叠加态。到目前为止这一切都是常规试验。</a:t>
            </a:r>
          </a:p>
        </p:txBody>
      </p:sp>
      <p:sp>
        <p:nvSpPr>
          <p:cNvPr id="4" name="灯片编号占位符 3"/>
          <p:cNvSpPr>
            <a:spLocks noGrp="1"/>
          </p:cNvSpPr>
          <p:nvPr>
            <p:ph type="sldNum" sz="quarter" idx="10"/>
          </p:nvPr>
        </p:nvSpPr>
        <p:spPr/>
        <p:txBody>
          <a:bodyPr/>
          <a:lstStyle/>
          <a:p>
            <a:fld id="{E9E6FDB6-6D2B-46C1-9FA1-D82906A37C3A}" type="slidenum">
              <a:rPr lang="zh-CN" altLang="en-US" smtClean="0"/>
              <a:t>29</a:t>
            </a:fld>
            <a:endParaRPr lang="zh-CN" altLang="en-US"/>
          </a:p>
        </p:txBody>
      </p:sp>
    </p:spTree>
    <p:extLst>
      <p:ext uri="{BB962C8B-B14F-4D97-AF65-F5344CB8AC3E}">
        <p14:creationId xmlns:p14="http://schemas.microsoft.com/office/powerpoint/2010/main" val="9165024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但是接下来发生的事情就很可怕了。如果我们再光子通过半透镜</a:t>
            </a:r>
            <a:r>
              <a:rPr lang="en-US" altLang="zh-CN" dirty="0"/>
              <a:t>1</a:t>
            </a:r>
            <a:r>
              <a:rPr lang="zh-CN" altLang="en-US" dirty="0"/>
              <a:t>后等它选择了线路之后再插入半透镜</a:t>
            </a:r>
            <a:r>
              <a:rPr lang="en-US" altLang="zh-CN" dirty="0"/>
              <a:t>2</a:t>
            </a:r>
            <a:r>
              <a:rPr lang="zh-CN" altLang="en-US" dirty="0"/>
              <a:t>会发生什么呢？按照第一次实验的结果我们会认为光子在通过透镜</a:t>
            </a:r>
            <a:r>
              <a:rPr lang="en-US" altLang="zh-CN" dirty="0"/>
              <a:t>1</a:t>
            </a:r>
            <a:r>
              <a:rPr lang="zh-CN" altLang="en-US" dirty="0"/>
              <a:t>时就已经选择了要走哪条线路，在透镜</a:t>
            </a:r>
            <a:r>
              <a:rPr lang="en-US" altLang="zh-CN" dirty="0"/>
              <a:t>2</a:t>
            </a:r>
            <a:r>
              <a:rPr lang="zh-CN" altLang="en-US" dirty="0"/>
              <a:t>处就不会发生自我干涉。可实验结果显示探测器</a:t>
            </a:r>
            <a:r>
              <a:rPr lang="en-US" altLang="zh-CN" dirty="0"/>
              <a:t>D1</a:t>
            </a:r>
            <a:r>
              <a:rPr lang="zh-CN" altLang="en-US" dirty="0"/>
              <a:t>会一直亮，</a:t>
            </a:r>
            <a:r>
              <a:rPr lang="en-US" altLang="zh-CN" dirty="0"/>
              <a:t>D2</a:t>
            </a:r>
            <a:r>
              <a:rPr lang="zh-CN" altLang="en-US" dirty="0"/>
              <a:t>永远不会亮。这说明光子还是同时走了两条线路。现在的问题是我们在光子通过透镜</a:t>
            </a:r>
            <a:r>
              <a:rPr lang="en-US" altLang="zh-CN" dirty="0"/>
              <a:t>1</a:t>
            </a:r>
            <a:r>
              <a:rPr lang="zh-CN" altLang="en-US" dirty="0"/>
              <a:t>后加的透镜</a:t>
            </a:r>
            <a:r>
              <a:rPr lang="en-US" altLang="zh-CN" dirty="0"/>
              <a:t>2</a:t>
            </a:r>
            <a:r>
              <a:rPr lang="zh-CN" altLang="en-US" dirty="0"/>
              <a:t>，也就是说光子已经选择了一条线路。我们加入透镜</a:t>
            </a:r>
            <a:r>
              <a:rPr lang="en-US" altLang="zh-CN" dirty="0"/>
              <a:t>2</a:t>
            </a:r>
            <a:r>
              <a:rPr lang="zh-CN" altLang="en-US" dirty="0"/>
              <a:t>后光子又改变了自己之前的选择，这就说明了我们现在的选择（观测行为）改变了光子过去的选择，也就是说我们可以在事情已经发生之后再来决定它应该怎么发生。关于这个问题，惠勒引用波尔的一句话来说“任何一种基本的量子现象只在其被记录之后才是一种现象”。宏观世界人们所遵从的因果律可能在微观世界是不大一样的，至少在微观世界量子层面上过去，现在和未来可能并没有那么大的界限</a:t>
            </a:r>
          </a:p>
        </p:txBody>
      </p:sp>
      <p:sp>
        <p:nvSpPr>
          <p:cNvPr id="4" name="灯片编号占位符 3"/>
          <p:cNvSpPr>
            <a:spLocks noGrp="1"/>
          </p:cNvSpPr>
          <p:nvPr>
            <p:ph type="sldNum" sz="quarter" idx="10"/>
          </p:nvPr>
        </p:nvSpPr>
        <p:spPr/>
        <p:txBody>
          <a:bodyPr/>
          <a:lstStyle/>
          <a:p>
            <a:fld id="{E9E6FDB6-6D2B-46C1-9FA1-D82906A37C3A}" type="slidenum">
              <a:rPr lang="zh-CN" altLang="en-US" smtClean="0"/>
              <a:t>30</a:t>
            </a:fld>
            <a:endParaRPr lang="zh-CN" altLang="en-US"/>
          </a:p>
        </p:txBody>
      </p:sp>
    </p:spTree>
    <p:extLst>
      <p:ext uri="{BB962C8B-B14F-4D97-AF65-F5344CB8AC3E}">
        <p14:creationId xmlns:p14="http://schemas.microsoft.com/office/powerpoint/2010/main" val="4356434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想过未来可以影响过去吗？在延迟选择量子擦除实验中，确实发生了这种现象。简单的来讲就是“</a:t>
            </a:r>
            <a:r>
              <a:rPr lang="en-US" altLang="zh-CN" dirty="0"/>
              <a:t>8</a:t>
            </a:r>
            <a:r>
              <a:rPr lang="zh-CN" altLang="en-US" dirty="0"/>
              <a:t>纳秒之后的行为看上去好像决定了</a:t>
            </a:r>
            <a:r>
              <a:rPr lang="en-US" altLang="zh-CN" dirty="0"/>
              <a:t>8</a:t>
            </a:r>
            <a:r>
              <a:rPr lang="zh-CN" altLang="en-US" dirty="0"/>
              <a:t>纳秒之前的行为”。实验过程是这样的：光源发射一个光子，经过双缝再到达</a:t>
            </a:r>
            <a:r>
              <a:rPr lang="en-US" altLang="zh-CN" dirty="0"/>
              <a:t>BBO</a:t>
            </a:r>
            <a:r>
              <a:rPr lang="zh-CN" altLang="en-US" dirty="0"/>
              <a:t>非线性晶体发射出两个能量减半并处于纠缠态的光子。这两个光子分别射向两个不同的方向，上面的光子射向探测器</a:t>
            </a:r>
            <a:r>
              <a:rPr lang="en-US" altLang="zh-CN" dirty="0"/>
              <a:t>D0</a:t>
            </a:r>
            <a:r>
              <a:rPr lang="zh-CN" altLang="en-US" dirty="0"/>
              <a:t>，用于进行干涉实验，我们把这个光子称为“信号光子”。下面的光子经过一系列的反射到达下面的探测器，我们将下面的光子称为“标记光子”。因为信号光子和标记光子的来源相同，所以我们知道标记光子的来源就能知道信号光子是穿过了哪条缝隙。特别强调的是信号光子到达</a:t>
            </a:r>
            <a:r>
              <a:rPr lang="en-US" altLang="zh-CN" dirty="0"/>
              <a:t>D0</a:t>
            </a:r>
            <a:r>
              <a:rPr lang="zh-CN" altLang="en-US" dirty="0"/>
              <a:t>的距离比标记光子到达其他探测器的距离近大约</a:t>
            </a:r>
            <a:r>
              <a:rPr lang="en-US" altLang="zh-CN" dirty="0"/>
              <a:t>2.5</a:t>
            </a:r>
            <a:r>
              <a:rPr lang="zh-CN" altLang="en-US" dirty="0"/>
              <a:t>米。也就是说信号光子比标记光子早</a:t>
            </a:r>
            <a:r>
              <a:rPr lang="en-US" altLang="zh-CN" dirty="0"/>
              <a:t>8</a:t>
            </a:r>
            <a:r>
              <a:rPr lang="zh-CN" altLang="en-US" dirty="0"/>
              <a:t>纳秒到达探测器。</a:t>
            </a:r>
          </a:p>
        </p:txBody>
      </p:sp>
      <p:sp>
        <p:nvSpPr>
          <p:cNvPr id="4" name="灯片编号占位符 3"/>
          <p:cNvSpPr>
            <a:spLocks noGrp="1"/>
          </p:cNvSpPr>
          <p:nvPr>
            <p:ph type="sldNum" sz="quarter" idx="10"/>
          </p:nvPr>
        </p:nvSpPr>
        <p:spPr/>
        <p:txBody>
          <a:bodyPr/>
          <a:lstStyle/>
          <a:p>
            <a:fld id="{E9E6FDB6-6D2B-46C1-9FA1-D82906A37C3A}" type="slidenum">
              <a:rPr lang="zh-CN" altLang="en-US" smtClean="0"/>
              <a:t>31</a:t>
            </a:fld>
            <a:endParaRPr lang="zh-CN" altLang="en-US"/>
          </a:p>
        </p:txBody>
      </p:sp>
    </p:spTree>
    <p:extLst>
      <p:ext uri="{BB962C8B-B14F-4D97-AF65-F5344CB8AC3E}">
        <p14:creationId xmlns:p14="http://schemas.microsoft.com/office/powerpoint/2010/main" val="28715638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实验第一个阶段，光源一个一个发射光子，结果要么</a:t>
            </a:r>
            <a:r>
              <a:rPr lang="en-US" altLang="zh-CN" dirty="0"/>
              <a:t>D1</a:t>
            </a:r>
            <a:r>
              <a:rPr lang="zh-CN" altLang="en-US" dirty="0"/>
              <a:t>亮要么</a:t>
            </a:r>
            <a:r>
              <a:rPr lang="en-US" altLang="zh-CN" dirty="0"/>
              <a:t>D2</a:t>
            </a:r>
            <a:r>
              <a:rPr lang="zh-CN" altLang="en-US" dirty="0"/>
              <a:t>亮，这说明光子要么穿过了</a:t>
            </a:r>
            <a:r>
              <a:rPr lang="en-US" altLang="zh-CN" dirty="0"/>
              <a:t>A</a:t>
            </a:r>
            <a:r>
              <a:rPr lang="zh-CN" altLang="en-US" dirty="0"/>
              <a:t>缝经全反镜</a:t>
            </a:r>
            <a:r>
              <a:rPr lang="en-US" altLang="zh-CN" dirty="0"/>
              <a:t>Mb</a:t>
            </a:r>
            <a:r>
              <a:rPr lang="zh-CN" altLang="en-US" dirty="0"/>
              <a:t>反射后到达了</a:t>
            </a:r>
            <a:r>
              <a:rPr lang="en-US" altLang="zh-CN" dirty="0"/>
              <a:t>D1</a:t>
            </a:r>
            <a:r>
              <a:rPr lang="zh-CN" altLang="en-US" dirty="0"/>
              <a:t>，要么穿过</a:t>
            </a:r>
            <a:r>
              <a:rPr lang="en-US" altLang="zh-CN" dirty="0"/>
              <a:t>B</a:t>
            </a:r>
            <a:r>
              <a:rPr lang="zh-CN" altLang="en-US" dirty="0"/>
              <a:t>缝经全反镜</a:t>
            </a:r>
            <a:r>
              <a:rPr lang="en-US" altLang="zh-CN" dirty="0"/>
              <a:t>Ma</a:t>
            </a:r>
            <a:r>
              <a:rPr lang="zh-CN" altLang="en-US" dirty="0"/>
              <a:t>反射后到达了</a:t>
            </a:r>
            <a:r>
              <a:rPr lang="en-US" altLang="zh-CN" dirty="0"/>
              <a:t>D2</a:t>
            </a:r>
            <a:r>
              <a:rPr lang="zh-CN" altLang="en-US" dirty="0"/>
              <a:t>。即可以通过观察探测器</a:t>
            </a:r>
            <a:r>
              <a:rPr lang="en-US" altLang="zh-CN" dirty="0"/>
              <a:t>D1</a:t>
            </a:r>
            <a:r>
              <a:rPr lang="zh-CN" altLang="en-US" dirty="0"/>
              <a:t>和</a:t>
            </a:r>
            <a:r>
              <a:rPr lang="en-US" altLang="zh-CN" dirty="0"/>
              <a:t>D2</a:t>
            </a:r>
            <a:r>
              <a:rPr lang="zh-CN" altLang="en-US" dirty="0"/>
              <a:t>知道光子来源于哪条缝隙。通过上述实验我们可以得知光子的路径信息，这时候</a:t>
            </a:r>
            <a:r>
              <a:rPr lang="en-US" altLang="zh-CN" dirty="0"/>
              <a:t>D0</a:t>
            </a:r>
            <a:r>
              <a:rPr lang="zh-CN" altLang="en-US" dirty="0"/>
              <a:t>探测器不会形成干涉条纹，光表现为粒子。</a:t>
            </a:r>
          </a:p>
        </p:txBody>
      </p:sp>
      <p:sp>
        <p:nvSpPr>
          <p:cNvPr id="4" name="灯片编号占位符 3"/>
          <p:cNvSpPr>
            <a:spLocks noGrp="1"/>
          </p:cNvSpPr>
          <p:nvPr>
            <p:ph type="sldNum" sz="quarter" idx="10"/>
          </p:nvPr>
        </p:nvSpPr>
        <p:spPr/>
        <p:txBody>
          <a:bodyPr/>
          <a:lstStyle/>
          <a:p>
            <a:fld id="{E9E6FDB6-6D2B-46C1-9FA1-D82906A37C3A}" type="slidenum">
              <a:rPr lang="zh-CN" altLang="en-US" smtClean="0"/>
              <a:t>32</a:t>
            </a:fld>
            <a:endParaRPr lang="zh-CN" altLang="en-US"/>
          </a:p>
        </p:txBody>
      </p:sp>
    </p:spTree>
    <p:extLst>
      <p:ext uri="{BB962C8B-B14F-4D97-AF65-F5344CB8AC3E}">
        <p14:creationId xmlns:p14="http://schemas.microsoft.com/office/powerpoint/2010/main" val="31422053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实验第二个阶段我们在蓝色和红色交汇处插入一个半透镜，那么不管光子从</a:t>
            </a:r>
            <a:r>
              <a:rPr lang="en-US" altLang="zh-CN" dirty="0"/>
              <a:t>A</a:t>
            </a:r>
            <a:r>
              <a:rPr lang="zh-CN" altLang="en-US" dirty="0"/>
              <a:t>缝还是</a:t>
            </a:r>
            <a:r>
              <a:rPr lang="en-US" altLang="zh-CN" dirty="0"/>
              <a:t>B</a:t>
            </a:r>
            <a:r>
              <a:rPr lang="zh-CN" altLang="en-US" dirty="0"/>
              <a:t>缝射出，标记光子最终可能到达</a:t>
            </a:r>
            <a:r>
              <a:rPr lang="en-US" altLang="zh-CN" dirty="0"/>
              <a:t>D1</a:t>
            </a:r>
            <a:r>
              <a:rPr lang="zh-CN" altLang="en-US" dirty="0"/>
              <a:t>或</a:t>
            </a:r>
            <a:r>
              <a:rPr lang="en-US" altLang="zh-CN" dirty="0"/>
              <a:t>D2</a:t>
            </a:r>
            <a:r>
              <a:rPr lang="zh-CN" altLang="en-US" dirty="0"/>
              <a:t>。这时候</a:t>
            </a:r>
            <a:r>
              <a:rPr lang="en-US" altLang="zh-CN" dirty="0"/>
              <a:t>D0</a:t>
            </a:r>
            <a:r>
              <a:rPr lang="zh-CN" altLang="en-US" dirty="0"/>
              <a:t>探测器形成了干涉条纹，也就是说当我们无法得知光子的路径信息时，光表现出了波的性质。按照上述实验，</a:t>
            </a:r>
            <a:r>
              <a:rPr lang="en-US" altLang="zh-CN" dirty="0"/>
              <a:t>D0</a:t>
            </a:r>
            <a:r>
              <a:rPr lang="zh-CN" altLang="en-US" dirty="0"/>
              <a:t>探测器是否形成干涉条纹，取决于我们是否在标记光子的路径上加半透镜。现在问题是信号光子到达</a:t>
            </a:r>
            <a:r>
              <a:rPr lang="en-US" altLang="zh-CN" dirty="0"/>
              <a:t>D0</a:t>
            </a:r>
            <a:r>
              <a:rPr lang="zh-CN" altLang="en-US" dirty="0"/>
              <a:t>时标记光子还未到达我们放置半透镜的位置，那么光子是如何知道我们在后面是否放置了半透镜并且提前做出了是否形成干涉条纹的预判？是光子提前预测了未来还是未来的行为改变了之前的结果呢？这里要强调的是在</a:t>
            </a:r>
            <a:r>
              <a:rPr lang="en-US" altLang="zh-CN" dirty="0"/>
              <a:t>D0</a:t>
            </a:r>
            <a:r>
              <a:rPr lang="zh-CN" altLang="en-US" dirty="0"/>
              <a:t>探测器屏幕上我们是无法直接观察到干涉条纹的，我们需要对到达</a:t>
            </a:r>
            <a:r>
              <a:rPr lang="en-US" altLang="zh-CN" dirty="0"/>
              <a:t>D0</a:t>
            </a:r>
            <a:r>
              <a:rPr lang="zh-CN" altLang="en-US" dirty="0"/>
              <a:t>的光子进行分类标记，到达</a:t>
            </a:r>
            <a:r>
              <a:rPr lang="en-US" altLang="zh-CN" dirty="0"/>
              <a:t>D1</a:t>
            </a:r>
            <a:r>
              <a:rPr lang="zh-CN" altLang="en-US" dirty="0"/>
              <a:t>的标记光子对应的信号光子用红色表示，到达</a:t>
            </a:r>
            <a:r>
              <a:rPr lang="en-US" altLang="zh-CN" dirty="0"/>
              <a:t>D2</a:t>
            </a:r>
            <a:r>
              <a:rPr lang="zh-CN" altLang="en-US" dirty="0"/>
              <a:t>的标记光子对应的信号光子用蓝色表示。不是直接在屏幕上显示出干涉条纹，而是当我们把屏幕上的光子进行标记之后对应于</a:t>
            </a:r>
            <a:r>
              <a:rPr lang="en-US" altLang="zh-CN" dirty="0"/>
              <a:t>D1</a:t>
            </a:r>
            <a:r>
              <a:rPr lang="zh-CN" altLang="en-US" dirty="0"/>
              <a:t>和</a:t>
            </a:r>
            <a:r>
              <a:rPr lang="en-US" altLang="zh-CN" dirty="0"/>
              <a:t>D2</a:t>
            </a:r>
            <a:r>
              <a:rPr lang="zh-CN" altLang="en-US" dirty="0"/>
              <a:t>标记光子的信号光子才能形成干涉条纹。</a:t>
            </a:r>
          </a:p>
        </p:txBody>
      </p:sp>
      <p:sp>
        <p:nvSpPr>
          <p:cNvPr id="4" name="灯片编号占位符 3"/>
          <p:cNvSpPr>
            <a:spLocks noGrp="1"/>
          </p:cNvSpPr>
          <p:nvPr>
            <p:ph type="sldNum" sz="quarter" idx="10"/>
          </p:nvPr>
        </p:nvSpPr>
        <p:spPr/>
        <p:txBody>
          <a:bodyPr/>
          <a:lstStyle/>
          <a:p>
            <a:fld id="{E9E6FDB6-6D2B-46C1-9FA1-D82906A37C3A}" type="slidenum">
              <a:rPr lang="zh-CN" altLang="en-US" smtClean="0"/>
              <a:t>33</a:t>
            </a:fld>
            <a:endParaRPr lang="zh-CN" altLang="en-US"/>
          </a:p>
        </p:txBody>
      </p:sp>
    </p:spTree>
    <p:extLst>
      <p:ext uri="{BB962C8B-B14F-4D97-AF65-F5344CB8AC3E}">
        <p14:creationId xmlns:p14="http://schemas.microsoft.com/office/powerpoint/2010/main" val="42009012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假如桌子上有一个杯子，我希望知道杯子的确切位置。杯子的位置有两种可能</a:t>
            </a:r>
            <a:r>
              <a:rPr lang="en-US" altLang="zh-CN" dirty="0"/>
              <a:t>A/B</a:t>
            </a:r>
            <a:r>
              <a:rPr lang="zh-CN" altLang="en-US" dirty="0"/>
              <a:t>。经过观察发现杯子在</a:t>
            </a:r>
            <a:r>
              <a:rPr lang="en-US" altLang="zh-CN" dirty="0"/>
              <a:t>A</a:t>
            </a:r>
            <a:r>
              <a:rPr lang="zh-CN" altLang="en-US" dirty="0"/>
              <a:t>处。那么观察之前杯子在哪个位置？这样一个简单的问题在量子力学科学家眼里引起了极大地争议。他们认为在观察之前杯子哪里都不在，杯子处于位置</a:t>
            </a:r>
            <a:r>
              <a:rPr lang="en-US" altLang="zh-CN" dirty="0"/>
              <a:t>A/B</a:t>
            </a:r>
            <a:r>
              <a:rPr lang="zh-CN" altLang="en-US" dirty="0"/>
              <a:t>的叠加态，观察的瞬间其位置随机坍缩。这就是量子力学的核心思想，叠加态原理。量子力学哥本哈根派的波尔认为，在微观世界里，没有测量前每个粒子的特征都处于叠加态。比如电子的自旋特性，他的旋转方向总是处于向上和向下的叠加态，直到去测量旋转方向的瞬间，他会坍缩为向上或者向下</a:t>
            </a:r>
          </a:p>
        </p:txBody>
      </p:sp>
      <p:sp>
        <p:nvSpPr>
          <p:cNvPr id="4" name="灯片编号占位符 3"/>
          <p:cNvSpPr>
            <a:spLocks noGrp="1"/>
          </p:cNvSpPr>
          <p:nvPr>
            <p:ph type="sldNum" sz="quarter" idx="10"/>
          </p:nvPr>
        </p:nvSpPr>
        <p:spPr/>
        <p:txBody>
          <a:bodyPr/>
          <a:lstStyle/>
          <a:p>
            <a:fld id="{E9E6FDB6-6D2B-46C1-9FA1-D82906A37C3A}" type="slidenum">
              <a:rPr lang="zh-CN" altLang="en-US" smtClean="0"/>
              <a:t>7</a:t>
            </a:fld>
            <a:endParaRPr lang="zh-CN" altLang="en-US"/>
          </a:p>
        </p:txBody>
      </p:sp>
    </p:spTree>
    <p:extLst>
      <p:ext uri="{BB962C8B-B14F-4D97-AF65-F5344CB8AC3E}">
        <p14:creationId xmlns:p14="http://schemas.microsoft.com/office/powerpoint/2010/main" val="25833335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如果我们把到达</a:t>
            </a:r>
            <a:r>
              <a:rPr lang="en-US" altLang="zh-CN" dirty="0"/>
              <a:t>D1D2</a:t>
            </a:r>
            <a:r>
              <a:rPr lang="zh-CN" altLang="en-US" dirty="0"/>
              <a:t>的光路延长至一光年，理论上来说我们有一年的时间来决定我们是否在</a:t>
            </a:r>
            <a:r>
              <a:rPr lang="en-US" altLang="zh-CN" dirty="0"/>
              <a:t>D1</a:t>
            </a:r>
            <a:r>
              <a:rPr lang="zh-CN" altLang="en-US" dirty="0"/>
              <a:t>和</a:t>
            </a:r>
            <a:r>
              <a:rPr lang="en-US" altLang="zh-CN" dirty="0"/>
              <a:t>D2</a:t>
            </a:r>
            <a:r>
              <a:rPr lang="zh-CN" altLang="en-US" dirty="0"/>
              <a:t>之间加入半透镜。那岂不是我们可以在一年之后决定现在的</a:t>
            </a:r>
            <a:r>
              <a:rPr lang="en-US" altLang="zh-CN" dirty="0"/>
              <a:t>D0</a:t>
            </a:r>
            <a:r>
              <a:rPr lang="zh-CN" altLang="en-US" dirty="0"/>
              <a:t>探测器是否形成干涉条纹。唯一的解释就是</a:t>
            </a:r>
            <a:r>
              <a:rPr lang="en-US" altLang="zh-CN" dirty="0"/>
              <a:t>D0</a:t>
            </a:r>
            <a:r>
              <a:rPr lang="zh-CN" altLang="en-US" dirty="0"/>
              <a:t>探测器处于发生和没发生干涉的叠加态。虽然信号光子早早地落在了</a:t>
            </a:r>
            <a:r>
              <a:rPr lang="en-US" altLang="zh-CN" dirty="0"/>
              <a:t>D0</a:t>
            </a:r>
            <a:r>
              <a:rPr lang="zh-CN" altLang="en-US" dirty="0"/>
              <a:t>上，但是我们不知道它时怎么落的。因为只有</a:t>
            </a:r>
            <a:r>
              <a:rPr lang="en-US" altLang="zh-CN" dirty="0"/>
              <a:t>D1D2</a:t>
            </a:r>
            <a:r>
              <a:rPr lang="zh-CN" altLang="en-US" dirty="0"/>
              <a:t>被探测之后和</a:t>
            </a:r>
            <a:r>
              <a:rPr lang="en-US" altLang="zh-CN" dirty="0"/>
              <a:t>D0</a:t>
            </a:r>
            <a:r>
              <a:rPr lang="zh-CN" altLang="en-US" dirty="0"/>
              <a:t>的数据相结合才能得知</a:t>
            </a:r>
            <a:r>
              <a:rPr lang="en-US" altLang="zh-CN" dirty="0"/>
              <a:t>D0</a:t>
            </a:r>
            <a:r>
              <a:rPr lang="zh-CN" altLang="en-US" dirty="0"/>
              <a:t>是否发生了干涉。但是上面问题的回答并未从本质上阐述产生的原因。借用实验作者的一句话来讲，“未来只是在帮助我们讲过去的故事”。</a:t>
            </a:r>
          </a:p>
        </p:txBody>
      </p:sp>
      <p:sp>
        <p:nvSpPr>
          <p:cNvPr id="4" name="灯片编号占位符 3"/>
          <p:cNvSpPr>
            <a:spLocks noGrp="1"/>
          </p:cNvSpPr>
          <p:nvPr>
            <p:ph type="sldNum" sz="quarter" idx="10"/>
          </p:nvPr>
        </p:nvSpPr>
        <p:spPr/>
        <p:txBody>
          <a:bodyPr/>
          <a:lstStyle/>
          <a:p>
            <a:fld id="{E9E6FDB6-6D2B-46C1-9FA1-D82906A37C3A}" type="slidenum">
              <a:rPr lang="zh-CN" altLang="en-US" smtClean="0"/>
              <a:t>34</a:t>
            </a:fld>
            <a:endParaRPr lang="zh-CN" altLang="en-US"/>
          </a:p>
        </p:txBody>
      </p:sp>
    </p:spTree>
    <p:extLst>
      <p:ext uri="{BB962C8B-B14F-4D97-AF65-F5344CB8AC3E}">
        <p14:creationId xmlns:p14="http://schemas.microsoft.com/office/powerpoint/2010/main" val="15374854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量子门和相应的伪代码</a:t>
            </a:r>
          </a:p>
        </p:txBody>
      </p:sp>
      <p:sp>
        <p:nvSpPr>
          <p:cNvPr id="4" name="灯片编号占位符 3"/>
          <p:cNvSpPr>
            <a:spLocks noGrp="1"/>
          </p:cNvSpPr>
          <p:nvPr>
            <p:ph type="sldNum" sz="quarter" idx="10"/>
          </p:nvPr>
        </p:nvSpPr>
        <p:spPr/>
        <p:txBody>
          <a:bodyPr/>
          <a:lstStyle/>
          <a:p>
            <a:fld id="{E9E6FDB6-6D2B-46C1-9FA1-D82906A37C3A}" type="slidenum">
              <a:rPr lang="zh-CN" altLang="en-US" smtClean="0"/>
              <a:t>39</a:t>
            </a:fld>
            <a:endParaRPr lang="zh-CN" altLang="en-US"/>
          </a:p>
        </p:txBody>
      </p:sp>
    </p:spTree>
    <p:extLst>
      <p:ext uri="{BB962C8B-B14F-4D97-AF65-F5344CB8AC3E}">
        <p14:creationId xmlns:p14="http://schemas.microsoft.com/office/powerpoint/2010/main" val="19194196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200" b="0" i="0" kern="1200" dirty="0">
                <a:solidFill>
                  <a:schemeClr val="tx1"/>
                </a:solidFill>
                <a:effectLst/>
                <a:latin typeface="+mn-lt"/>
                <a:ea typeface="+mn-ea"/>
                <a:cs typeface="+mn-cs"/>
              </a:rPr>
              <a:t>让我们考虑一个移动机器人，它在平面上移动，假设机器人的内部状态对应于它在平面上的方向。注意集合</a:t>
            </a:r>
            <a:r>
              <a:rPr lang="en-US" altLang="zh-CN" sz="1200" b="0" i="0" kern="1200" dirty="0">
                <a:solidFill>
                  <a:schemeClr val="tx1"/>
                </a:solidFill>
                <a:effectLst/>
                <a:latin typeface="+mn-lt"/>
                <a:ea typeface="+mn-ea"/>
                <a:cs typeface="+mn-cs"/>
              </a:rPr>
              <a:t>V</a:t>
            </a:r>
            <a:r>
              <a:rPr lang="zh-CN" altLang="en-US" sz="1200" b="0" i="0" kern="1200" dirty="0">
                <a:solidFill>
                  <a:schemeClr val="tx1"/>
                </a:solidFill>
                <a:effectLst/>
                <a:latin typeface="+mn-lt"/>
                <a:ea typeface="+mn-ea"/>
                <a:cs typeface="+mn-cs"/>
              </a:rPr>
              <a:t>的元素形成了一组作用于状态集</a:t>
            </a:r>
            <a:r>
              <a:rPr lang="en-US" altLang="zh-CN" sz="1200" b="0" i="0" kern="1200" dirty="0">
                <a:solidFill>
                  <a:schemeClr val="tx1"/>
                </a:solidFill>
                <a:effectLst/>
                <a:latin typeface="+mn-lt"/>
                <a:ea typeface="+mn-ea"/>
                <a:cs typeface="+mn-cs"/>
              </a:rPr>
              <a:t>S</a:t>
            </a:r>
            <a:r>
              <a:rPr lang="zh-CN" altLang="en-US" sz="1200" b="0" i="0" kern="1200" dirty="0">
                <a:solidFill>
                  <a:schemeClr val="tx1"/>
                </a:solidFill>
                <a:effectLst/>
                <a:latin typeface="+mn-lt"/>
                <a:ea typeface="+mn-ea"/>
                <a:cs typeface="+mn-cs"/>
              </a:rPr>
              <a:t>的乘法，“前进”“后退”和“静止”不改变机器人的状态但改变机器人的位置从而改变获得的</a:t>
            </a:r>
            <a:r>
              <a:rPr lang="el-GR" altLang="zh-CN" sz="1200" b="0" i="0" kern="1200" dirty="0">
                <a:solidFill>
                  <a:schemeClr val="tx1"/>
                </a:solidFill>
                <a:effectLst/>
                <a:latin typeface="+mn-lt"/>
                <a:ea typeface="+mn-ea"/>
                <a:cs typeface="+mn-cs"/>
              </a:rPr>
              <a:t>ε</a:t>
            </a:r>
            <a:r>
              <a:rPr lang="el-GR" altLang="zh-CN" dirty="0"/>
              <a:t> </a:t>
            </a:r>
            <a:r>
              <a:rPr lang="zh-CN" altLang="en-US" dirty="0"/>
              <a:t>值</a:t>
            </a:r>
          </a:p>
        </p:txBody>
      </p:sp>
      <p:sp>
        <p:nvSpPr>
          <p:cNvPr id="4" name="灯片编号占位符 3"/>
          <p:cNvSpPr>
            <a:spLocks noGrp="1"/>
          </p:cNvSpPr>
          <p:nvPr>
            <p:ph type="sldNum" sz="quarter" idx="10"/>
          </p:nvPr>
        </p:nvSpPr>
        <p:spPr/>
        <p:txBody>
          <a:bodyPr/>
          <a:lstStyle/>
          <a:p>
            <a:fld id="{E9E6FDB6-6D2B-46C1-9FA1-D82906A37C3A}" type="slidenum">
              <a:rPr lang="zh-CN" altLang="en-US" smtClean="0"/>
              <a:t>40</a:t>
            </a:fld>
            <a:endParaRPr lang="zh-CN" altLang="en-US"/>
          </a:p>
        </p:txBody>
      </p:sp>
    </p:spTree>
    <p:extLst>
      <p:ext uri="{BB962C8B-B14F-4D97-AF65-F5344CB8AC3E}">
        <p14:creationId xmlns:p14="http://schemas.microsoft.com/office/powerpoint/2010/main" val="14831864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41</a:t>
            </a:fld>
            <a:endParaRPr lang="zh-CN" altLang="en-US"/>
          </a:p>
        </p:txBody>
      </p:sp>
    </p:spTree>
    <p:extLst>
      <p:ext uri="{BB962C8B-B14F-4D97-AF65-F5344CB8AC3E}">
        <p14:creationId xmlns:p14="http://schemas.microsoft.com/office/powerpoint/2010/main" val="24052698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200" b="0" i="0" kern="1200" dirty="0">
                <a:solidFill>
                  <a:schemeClr val="tx1"/>
                </a:solidFill>
                <a:effectLst/>
                <a:latin typeface="+mn-lt"/>
                <a:ea typeface="+mn-ea"/>
                <a:cs typeface="+mn-cs"/>
              </a:rPr>
              <a:t>让我们特别考虑机器人的状态和动作。如果对环境没有影响，那么状态之间的关系可以表示为</a:t>
            </a:r>
            <a:r>
              <a:rPr lang="en-US" altLang="zh-CN" sz="1200" b="0" i="0" kern="1200" dirty="0">
                <a:solidFill>
                  <a:schemeClr val="tx1"/>
                </a:solidFill>
                <a:effectLst/>
                <a:latin typeface="+mn-lt"/>
                <a:ea typeface="+mn-ea"/>
                <a:cs typeface="+mn-cs"/>
              </a:rPr>
              <a:t>:</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42</a:t>
            </a:fld>
            <a:endParaRPr lang="zh-CN" altLang="en-US"/>
          </a:p>
        </p:txBody>
      </p:sp>
    </p:spTree>
    <p:extLst>
      <p:ext uri="{BB962C8B-B14F-4D97-AF65-F5344CB8AC3E}">
        <p14:creationId xmlns:p14="http://schemas.microsoft.com/office/powerpoint/2010/main" val="14949023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200" b="0" i="0" kern="1200" dirty="0">
                <a:solidFill>
                  <a:schemeClr val="tx1"/>
                </a:solidFill>
                <a:effectLst/>
                <a:latin typeface="+mn-lt"/>
                <a:ea typeface="+mn-ea"/>
                <a:cs typeface="+mn-cs"/>
              </a:rPr>
              <a:t>现在让我们考虑一下环境的影响。回想一下，量子比特的量子态等价地由状态向量和密度矩阵定义。</a:t>
            </a:r>
            <a:endParaRPr lang="en-US" altLang="zh-CN" sz="1200" b="0" i="0" kern="1200" dirty="0">
              <a:solidFill>
                <a:schemeClr val="tx1"/>
              </a:solidFill>
              <a:effectLst/>
              <a:latin typeface="+mn-lt"/>
              <a:ea typeface="+mn-ea"/>
              <a:cs typeface="+mn-cs"/>
            </a:endParaRPr>
          </a:p>
          <a:p>
            <a:r>
              <a:rPr lang="zh-CN" altLang="en-US" sz="1200" b="0" i="0" kern="1200" dirty="0">
                <a:solidFill>
                  <a:schemeClr val="tx1"/>
                </a:solidFill>
                <a:effectLst/>
                <a:latin typeface="+mn-lt"/>
                <a:ea typeface="+mn-ea"/>
                <a:cs typeface="+mn-cs"/>
              </a:rPr>
              <a:t>由于密度矩阵的非对角元素可以为任意值，让我们使用这些值来指定与环境变量</a:t>
            </a:r>
            <a:r>
              <a:rPr lang="en-US" altLang="zh-CN" sz="1200" b="0" i="0" kern="1200" dirty="0">
                <a:solidFill>
                  <a:schemeClr val="tx1"/>
                </a:solidFill>
                <a:effectLst/>
                <a:latin typeface="+mn-lt"/>
                <a:ea typeface="+mn-ea"/>
                <a:cs typeface="+mn-cs"/>
              </a:rPr>
              <a:t>ε</a:t>
            </a:r>
            <a:r>
              <a:rPr lang="zh-CN" altLang="en-US" sz="1200" b="0" i="0" kern="1200" dirty="0">
                <a:solidFill>
                  <a:schemeClr val="tx1"/>
                </a:solidFill>
                <a:effectLst/>
                <a:latin typeface="+mn-lt"/>
                <a:ea typeface="+mn-ea"/>
                <a:cs typeface="+mn-cs"/>
              </a:rPr>
              <a:t>的关系。</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43</a:t>
            </a:fld>
            <a:endParaRPr lang="zh-CN" altLang="en-US"/>
          </a:p>
        </p:txBody>
      </p:sp>
    </p:spTree>
    <p:extLst>
      <p:ext uri="{BB962C8B-B14F-4D97-AF65-F5344CB8AC3E}">
        <p14:creationId xmlns:p14="http://schemas.microsoft.com/office/powerpoint/2010/main" val="36365152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论文写错了结果吧。。。归一化出错，状态转移概率也出错</a:t>
            </a:r>
          </a:p>
        </p:txBody>
      </p:sp>
      <p:sp>
        <p:nvSpPr>
          <p:cNvPr id="4" name="灯片编号占位符 3"/>
          <p:cNvSpPr>
            <a:spLocks noGrp="1"/>
          </p:cNvSpPr>
          <p:nvPr>
            <p:ph type="sldNum" sz="quarter" idx="10"/>
          </p:nvPr>
        </p:nvSpPr>
        <p:spPr/>
        <p:txBody>
          <a:bodyPr/>
          <a:lstStyle/>
          <a:p>
            <a:fld id="{E9E6FDB6-6D2B-46C1-9FA1-D82906A37C3A}" type="slidenum">
              <a:rPr lang="zh-CN" altLang="en-US" smtClean="0"/>
              <a:t>44</a:t>
            </a:fld>
            <a:endParaRPr lang="zh-CN" altLang="en-US"/>
          </a:p>
        </p:txBody>
      </p:sp>
    </p:spTree>
    <p:extLst>
      <p:ext uri="{BB962C8B-B14F-4D97-AF65-F5344CB8AC3E}">
        <p14:creationId xmlns:p14="http://schemas.microsoft.com/office/powerpoint/2010/main" val="210267023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46</a:t>
            </a:fld>
            <a:endParaRPr lang="zh-CN" altLang="en-US"/>
          </a:p>
        </p:txBody>
      </p:sp>
    </p:spTree>
    <p:extLst>
      <p:ext uri="{BB962C8B-B14F-4D97-AF65-F5344CB8AC3E}">
        <p14:creationId xmlns:p14="http://schemas.microsoft.com/office/powerpoint/2010/main" val="31772276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47</a:t>
            </a:fld>
            <a:endParaRPr lang="zh-CN" altLang="en-US"/>
          </a:p>
        </p:txBody>
      </p:sp>
    </p:spTree>
    <p:extLst>
      <p:ext uri="{BB962C8B-B14F-4D97-AF65-F5344CB8AC3E}">
        <p14:creationId xmlns:p14="http://schemas.microsoft.com/office/powerpoint/2010/main" val="2667341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波尔认为，现实的本质是充满不确定性的。但爱因斯坦不同意这种不确定性描述，他认为电子的旋转方向是确定的，无论是测量还是观察，都不会影响电子的旋转方向，测量只是获取了这个信息而已。难道这个宇宙的真实性，真的取决于我们是否睁开双眼？面对爱因斯坦的质疑波尔无动于衷。</a:t>
            </a:r>
          </a:p>
        </p:txBody>
      </p:sp>
      <p:sp>
        <p:nvSpPr>
          <p:cNvPr id="4" name="灯片编号占位符 3"/>
          <p:cNvSpPr>
            <a:spLocks noGrp="1"/>
          </p:cNvSpPr>
          <p:nvPr>
            <p:ph type="sldNum" sz="quarter" idx="10"/>
          </p:nvPr>
        </p:nvSpPr>
        <p:spPr/>
        <p:txBody>
          <a:bodyPr/>
          <a:lstStyle/>
          <a:p>
            <a:fld id="{E9E6FDB6-6D2B-46C1-9FA1-D82906A37C3A}" type="slidenum">
              <a:rPr lang="zh-CN" altLang="en-US" smtClean="0"/>
              <a:t>8</a:t>
            </a:fld>
            <a:endParaRPr lang="zh-CN" altLang="en-US"/>
          </a:p>
        </p:txBody>
      </p:sp>
    </p:spTree>
    <p:extLst>
      <p:ext uri="{BB962C8B-B14F-4D97-AF65-F5344CB8AC3E}">
        <p14:creationId xmlns:p14="http://schemas.microsoft.com/office/powerpoint/2010/main" val="10011710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1935</a:t>
            </a:r>
            <a:r>
              <a:rPr lang="zh-CN" altLang="en-US" dirty="0"/>
              <a:t>年，爱因斯坦终于发现了量子理论的致命弱点即纠缠理论。纠缠理论是根据量子理论方程式做出的理论性推测。根据纠缠理论，如果两个粒子的特性类似且距离够近，他们就会发生纠缠。就算将两个粒子分开，将他们送往相反的方向，他们仍然保持着纠缠，紧密联系。假设有一对纠缠的粒子，当其中一个向上旋转时，另一个就一定是向下旋转，反之亦然。这种纠缠状态，完全是超越时间和空间的。爱因斯坦承认纠缠粒子的存在，但他认为可以用一种更简单的解释来说明这种</a:t>
            </a:r>
            <a:endParaRPr lang="en-US" altLang="zh-CN"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b="0" i="0" dirty="0">
                <a:solidFill>
                  <a:srgbClr val="000000"/>
                </a:solidFill>
                <a:effectLst/>
                <a:latin typeface="Microsoft Yahei" panose="020B0503020204020204" pitchFamily="34" charset="-122"/>
                <a:ea typeface="Microsoft Yahei" panose="020B0503020204020204" pitchFamily="34" charset="-122"/>
              </a:rPr>
              <a:t>量子力学中的所谓纠缠是这样一种现象：两个处于纠缠态的粒子可以保持一种特殊的关联状态，两个粒子的状态原本都未知，但只要测量其中一个粒子，就能立即知道另外一个粒子的状态，哪怕它们之间相隔遥远的距离。过去的大半个世纪里，这种现象背后的本质一直深深困惑着科学家们。</a:t>
            </a:r>
            <a:endParaRPr lang="en-US" altLang="zh-CN" b="0" i="0" dirty="0">
              <a:solidFill>
                <a:srgbClr val="000000"/>
              </a:solidFill>
              <a:effectLst/>
              <a:latin typeface="Microsoft Yahei" panose="020B0503020204020204" pitchFamily="34" charset="-122"/>
              <a:ea typeface="Microsoft Yahei" panose="020B0503020204020204" pitchFamily="34"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b="0" i="0" dirty="0">
              <a:solidFill>
                <a:srgbClr val="000000"/>
              </a:solidFill>
              <a:effectLst/>
              <a:latin typeface="Microsoft Yahei" panose="020B0503020204020204" pitchFamily="34" charset="-122"/>
              <a:ea typeface="Microsoft Yahei" panose="020B0503020204020204" pitchFamily="34"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b="0" i="0" dirty="0">
                <a:solidFill>
                  <a:srgbClr val="000000"/>
                </a:solidFill>
                <a:effectLst/>
                <a:latin typeface="Microsoft Yahei" panose="020B0503020204020204" pitchFamily="34" charset="-122"/>
                <a:ea typeface="Microsoft Yahei" panose="020B0503020204020204" pitchFamily="34" charset="-122"/>
              </a:rPr>
              <a:t>以玻尔为代表的哥本哈根学派认为，对于微观的量子世界，所谓的“实在”只有和观测手段连起来讲才有意义；但爱因斯坦等科学家无法接受这种观点，他们认为量子力学是不完备的，测量结果一定受到了某种“隐变量”的预先决定，只是我们没能探测到它。</a:t>
            </a:r>
            <a:endParaRPr lang="en-US" altLang="zh-CN" b="0" i="0" dirty="0">
              <a:solidFill>
                <a:srgbClr val="000000"/>
              </a:solidFill>
              <a:effectLst/>
              <a:latin typeface="Microsoft Yahei" panose="020B0503020204020204" pitchFamily="34" charset="-122"/>
              <a:ea typeface="Microsoft Yahei" panose="020B0503020204020204" pitchFamily="34"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b="0" i="0" dirty="0">
                <a:solidFill>
                  <a:srgbClr val="000000"/>
                </a:solidFill>
                <a:effectLst/>
                <a:latin typeface="Microsoft Yahei" panose="020B0503020204020204" pitchFamily="34" charset="-122"/>
                <a:ea typeface="Microsoft Yahei" panose="020B0503020204020204" pitchFamily="34" charset="-122"/>
              </a:rPr>
              <a:t>以玻尔为代表的哥本哈根学派认为，对于微观的量子世界，所谓的“实在”只有和观测手段连起来讲才有意义；但爱因斯坦等科学家无法接受这种观点，他们认为量子力学是不完备的，测量结果一定受到了某种“隐变量”的预先决定，只是我们没能探测到它。</a:t>
            </a:r>
            <a:endParaRPr lang="zh-CN" altLang="en-US" dirty="0"/>
          </a:p>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9</a:t>
            </a:fld>
            <a:endParaRPr lang="zh-CN" altLang="en-US"/>
          </a:p>
        </p:txBody>
      </p:sp>
    </p:spTree>
    <p:extLst>
      <p:ext uri="{BB962C8B-B14F-4D97-AF65-F5344CB8AC3E}">
        <p14:creationId xmlns:p14="http://schemas.microsoft.com/office/powerpoint/2010/main" val="23677773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dirty="0"/>
              <a:t>爱因斯坦承认纠缠着粒子的存在，但他认为可以用一种更简单的解释来说明这种联系，而不是通过什么神秘的远程连接。相反，他认为纠缠粒子更像是一对手套，试想有人分开两只手套分别放进箱子里，然后把一个箱子送往南极。当打开箱子发现里面是一只左手手套时，那南极箱子里一定是一只右手手套。很明显，爱因斯坦用同样的方式来看待纠缠粒子。无论粒子处于何种情况下，他们的状态在他们分开的那一刻就已经确定。你可能会问“那你怎么知道的？”他会回答“去测他”。波尔认为“但正是这测量的行为确定了状态”</a:t>
            </a:r>
            <a:endParaRPr lang="en-US" altLang="zh-CN"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b="0" i="0" dirty="0">
                <a:solidFill>
                  <a:srgbClr val="4D5156"/>
                </a:solidFill>
                <a:effectLst/>
                <a:latin typeface="arial" panose="020B0604020202020204" pitchFamily="34" charset="0"/>
              </a:rPr>
              <a:t>时空的最小</a:t>
            </a:r>
            <a:r>
              <a:rPr lang="zh-CN" altLang="en-US" b="0" i="0" dirty="0">
                <a:solidFill>
                  <a:srgbClr val="EA4335"/>
                </a:solidFill>
                <a:effectLst/>
                <a:latin typeface="arial" panose="020B0604020202020204" pitchFamily="34" charset="0"/>
              </a:rPr>
              <a:t>尺度</a:t>
            </a:r>
            <a:r>
              <a:rPr lang="zh-CN" altLang="en-US" b="0" i="0" dirty="0">
                <a:solidFill>
                  <a:srgbClr val="4D5156"/>
                </a:solidFill>
                <a:effectLst/>
                <a:latin typeface="arial" panose="020B0604020202020204" pitchFamily="34" charset="0"/>
              </a:rPr>
              <a:t>就是</a:t>
            </a:r>
            <a:r>
              <a:rPr lang="zh-CN" altLang="en-US" b="0" i="0" dirty="0">
                <a:solidFill>
                  <a:srgbClr val="EA4335"/>
                </a:solidFill>
                <a:effectLst/>
                <a:latin typeface="arial" panose="020B0604020202020204" pitchFamily="34" charset="0"/>
              </a:rPr>
              <a:t>普朗克</a:t>
            </a:r>
            <a:r>
              <a:rPr lang="zh-CN" altLang="en-US" b="0" i="0" dirty="0">
                <a:solidFill>
                  <a:srgbClr val="4D5156"/>
                </a:solidFill>
                <a:effectLst/>
                <a:latin typeface="arial" panose="020B0604020202020204" pitchFamily="34" charset="0"/>
              </a:rPr>
              <a:t>长度和</a:t>
            </a:r>
            <a:r>
              <a:rPr lang="zh-CN" altLang="en-US" b="0" i="0" dirty="0">
                <a:solidFill>
                  <a:srgbClr val="EA4335"/>
                </a:solidFill>
                <a:effectLst/>
                <a:latin typeface="arial" panose="020B0604020202020204" pitchFamily="34" charset="0"/>
              </a:rPr>
              <a:t>普朗克</a:t>
            </a:r>
            <a:r>
              <a:rPr lang="zh-CN" altLang="en-US" b="0" i="0" dirty="0">
                <a:solidFill>
                  <a:srgbClr val="4D5156"/>
                </a:solidFill>
                <a:effectLst/>
                <a:latin typeface="arial" panose="020B0604020202020204" pitchFamily="34" charset="0"/>
              </a:rPr>
              <a:t>时间</a:t>
            </a:r>
            <a:endParaRPr lang="zh-CN" altLang="en-US" dirty="0"/>
          </a:p>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10</a:t>
            </a:fld>
            <a:endParaRPr lang="zh-CN" altLang="en-US"/>
          </a:p>
        </p:txBody>
      </p:sp>
    </p:spTree>
    <p:extLst>
      <p:ext uri="{BB962C8B-B14F-4D97-AF65-F5344CB8AC3E}">
        <p14:creationId xmlns:p14="http://schemas.microsoft.com/office/powerpoint/2010/main" val="34227453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没人知道如何解决这个问题，这个问题被归为哲学问题而不是科学问题。直到</a:t>
            </a:r>
            <a:r>
              <a:rPr lang="en-US" altLang="zh-CN" dirty="0"/>
              <a:t>1955</a:t>
            </a:r>
            <a:r>
              <a:rPr lang="zh-CN" altLang="en-US" dirty="0"/>
              <a:t>年爱因斯坦去世他还是认为量子力学没有完整的解释世界的真相。后来物理学界通过贝尔不等式实验给出了最终的检验结果。量子纠缠现象确实存在。量子纠缠成了一种存粹发生于微观世界的现象，源于量子系统的不确定性，即当几个粒子彼此相互作用后粒子们所拥有的特性可能纠缠在一起成为一个整体。各个粒子的性质再也无法被单独描述，只能描述整体系统的性质。为什么会这样？没人能回答这个问题。唯一能阐述清楚的超弦理论却涉及高维空间而无法验证。基于高维空间的概念，弦论把量子纠缠解释为粒子在高维空间的三维投影，即纠缠的粒子处于高维空间中本来就只有一个，只是投影到了不同的三维空间位置而已。而这种高维空间只存在于普朗克尺度之下</a:t>
            </a:r>
          </a:p>
        </p:txBody>
      </p:sp>
      <p:sp>
        <p:nvSpPr>
          <p:cNvPr id="4" name="灯片编号占位符 3"/>
          <p:cNvSpPr>
            <a:spLocks noGrp="1"/>
          </p:cNvSpPr>
          <p:nvPr>
            <p:ph type="sldNum" sz="quarter" idx="10"/>
          </p:nvPr>
        </p:nvSpPr>
        <p:spPr/>
        <p:txBody>
          <a:bodyPr/>
          <a:lstStyle/>
          <a:p>
            <a:fld id="{E9E6FDB6-6D2B-46C1-9FA1-D82906A37C3A}" type="slidenum">
              <a:rPr lang="zh-CN" altLang="en-US" smtClean="0"/>
              <a:t>11</a:t>
            </a:fld>
            <a:endParaRPr lang="zh-CN" altLang="en-US"/>
          </a:p>
        </p:txBody>
      </p:sp>
    </p:spTree>
    <p:extLst>
      <p:ext uri="{BB962C8B-B14F-4D97-AF65-F5344CB8AC3E}">
        <p14:creationId xmlns:p14="http://schemas.microsoft.com/office/powerpoint/2010/main" val="10758003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二十世纪科学家一直在纠结一个问题，光究竟是波还是粒子？于是科学家们决定做一个实验即双缝干涉实验。双缝就是在一块隔板上开两条缝，用一个发射光子的机枪对着双缝扫射，从缝中漏出去的光子打到缝后面的屏上，就会留下一个光斑。实验之前科学家做出了如下推测。第一种可能，如果光子是纯粒子，那么光子就像机关枪发射的子弹一样笔直地从缝中穿过，屏幕上留下的一定是两道杠，因为其他角度的光子都被板挡住了。第二种可能如果光是纯波，那么屏幕上会留下斑马线般的一道道条纹。根据波动理论，波穿过双缝时会形成两个波源，两个波各自震荡干涉，波峰与波峰之间强度叠加，波峰与波谷之间正反抵消，最终屏幕上会出现一道道复杂唯美的斑马线。总之两道杠，光是粒子；斑马线，光是波。</a:t>
            </a:r>
          </a:p>
        </p:txBody>
      </p:sp>
      <p:sp>
        <p:nvSpPr>
          <p:cNvPr id="4" name="灯片编号占位符 3"/>
          <p:cNvSpPr>
            <a:spLocks noGrp="1"/>
          </p:cNvSpPr>
          <p:nvPr>
            <p:ph type="sldNum" sz="quarter" idx="10"/>
          </p:nvPr>
        </p:nvSpPr>
        <p:spPr/>
        <p:txBody>
          <a:bodyPr/>
          <a:lstStyle/>
          <a:p>
            <a:fld id="{E9E6FDB6-6D2B-46C1-9FA1-D82906A37C3A}" type="slidenum">
              <a:rPr lang="zh-CN" altLang="en-US" smtClean="0"/>
              <a:t>21</a:t>
            </a:fld>
            <a:endParaRPr lang="zh-CN" altLang="en-US"/>
          </a:p>
        </p:txBody>
      </p:sp>
    </p:spTree>
    <p:extLst>
      <p:ext uri="{BB962C8B-B14F-4D97-AF65-F5344CB8AC3E}">
        <p14:creationId xmlns:p14="http://schemas.microsoft.com/office/powerpoint/2010/main" val="35953264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第一次实验，把光子发射机对准双缝发射，结果是标准的斑马线。光看似是一种波，可以发生干涉。可坚持光是粒子的科学家继续第二次实验。把光子枪切换到点射模式，保证每次只发射一个光子，一开始光子数量较少时，屏幕上的光点看上去一片杂乱无章，随着积少成多，渐渐显现出了斑马线条纹。然而，单个光子要么是穿过左缝，要么穿过右缝。穿过一条缝的光子到底和谁在干涉呢？难道光子穿过缝隙时自己分成了两半然后自己跟自己干涉吗？又或是一个光子同时穿过了两个缝隙？事情好像越来越复杂了，于是科学家决定做第三个实验，在双缝前加装两个探测器，探测器可以记录光子究竟是穿过了哪个缝隙，同样还是点射模式发射光子。通过探测器发现，光子确实是从左缝或右缝单一通过，也就是说光子并没有一分为二。然而就在科学家纳闷单光子穿越缝隙和谁在干涉时，诡异的事情发生了</a:t>
            </a:r>
          </a:p>
        </p:txBody>
      </p:sp>
      <p:sp>
        <p:nvSpPr>
          <p:cNvPr id="4" name="灯片编号占位符 3"/>
          <p:cNvSpPr>
            <a:spLocks noGrp="1"/>
          </p:cNvSpPr>
          <p:nvPr>
            <p:ph type="sldNum" sz="quarter" idx="10"/>
          </p:nvPr>
        </p:nvSpPr>
        <p:spPr/>
        <p:txBody>
          <a:bodyPr/>
          <a:lstStyle/>
          <a:p>
            <a:fld id="{E9E6FDB6-6D2B-46C1-9FA1-D82906A37C3A}" type="slidenum">
              <a:rPr lang="zh-CN" altLang="en-US" smtClean="0"/>
              <a:t>22</a:t>
            </a:fld>
            <a:endParaRPr lang="zh-CN" altLang="en-US"/>
          </a:p>
        </p:txBody>
      </p:sp>
    </p:spTree>
    <p:extLst>
      <p:ext uri="{BB962C8B-B14F-4D97-AF65-F5344CB8AC3E}">
        <p14:creationId xmlns:p14="http://schemas.microsoft.com/office/powerpoint/2010/main" val="7635559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屏幕上的条纹不知道什么时候悄悄地变成了两道杠。科学家又重复了多次实验，不加装探测器结果总是斑马线，光是波；加装探测器结果变成了两道杠，光是粒子。难道实验结果取决于我们是否用探测器观察了它？实验进行到这里，光是粒子还是波已经不重要了，重要的是光的性质取决于你是否观察了它。难道它知道你是否在观察它？后来科学家建立了量子力学理论。根据量子力学的第一定律即叠加态原理，光子处于粒子和波的叠加状态。同时根据哥本哈根诠释，当光子在穿过缝隙时处于左缝和右缝的叠加态。当你去观察光子时波函数坍缩，坍缩为波或粒子，是穿过了左缝还是右缝的确定值。需要指出的是，光是波还是粒子取决于你以何种方式去测量他。当你用测量粒子的方式去测量它时，它表现为粒子；当你用测量波的方式去测量它时，它表现为波。为什么会这样，没人能回答这个问题。</a:t>
            </a:r>
          </a:p>
        </p:txBody>
      </p:sp>
      <p:sp>
        <p:nvSpPr>
          <p:cNvPr id="4" name="灯片编号占位符 3"/>
          <p:cNvSpPr>
            <a:spLocks noGrp="1"/>
          </p:cNvSpPr>
          <p:nvPr>
            <p:ph type="sldNum" sz="quarter" idx="10"/>
          </p:nvPr>
        </p:nvSpPr>
        <p:spPr/>
        <p:txBody>
          <a:bodyPr/>
          <a:lstStyle/>
          <a:p>
            <a:fld id="{E9E6FDB6-6D2B-46C1-9FA1-D82906A37C3A}" type="slidenum">
              <a:rPr lang="zh-CN" altLang="en-US" smtClean="0"/>
              <a:t>23</a:t>
            </a:fld>
            <a:endParaRPr lang="zh-CN" altLang="en-US"/>
          </a:p>
        </p:txBody>
      </p:sp>
    </p:spTree>
    <p:extLst>
      <p:ext uri="{BB962C8B-B14F-4D97-AF65-F5344CB8AC3E}">
        <p14:creationId xmlns:p14="http://schemas.microsoft.com/office/powerpoint/2010/main" val="7544006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196" name="iŝḻiḍe">
            <a:extLst>
              <a:ext uri="{FF2B5EF4-FFF2-40B4-BE49-F238E27FC236}">
                <a16:creationId xmlns:a16="http://schemas.microsoft.com/office/drawing/2014/main" id="{965C6E71-3A35-4320-AF63-894A3928550F}"/>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9" name="iśḷîḋè">
            <a:extLst>
              <a:ext uri="{FF2B5EF4-FFF2-40B4-BE49-F238E27FC236}">
                <a16:creationId xmlns:a16="http://schemas.microsoft.com/office/drawing/2014/main" id="{3F7C98E3-BA98-4529-894E-F8EDFED84691}"/>
              </a:ext>
            </a:extLst>
          </p:cNvPr>
          <p:cNvSpPr/>
          <p:nvPr userDrawn="1"/>
        </p:nvSpPr>
        <p:spPr>
          <a:xfrm>
            <a:off x="8159523" y="0"/>
            <a:ext cx="3789277" cy="6858000"/>
          </a:xfrm>
          <a:custGeom>
            <a:avLst/>
            <a:gdLst>
              <a:gd name="connsiteX0" fmla="*/ 2480808 w 2804986"/>
              <a:gd name="connsiteY0" fmla="*/ 0 h 6858000"/>
              <a:gd name="connsiteX1" fmla="*/ 2804986 w 2804986"/>
              <a:gd name="connsiteY1" fmla="*/ 0 h 6858000"/>
              <a:gd name="connsiteX2" fmla="*/ 324177 w 2804986"/>
              <a:gd name="connsiteY2" fmla="*/ 6858000 h 6858000"/>
              <a:gd name="connsiteX3" fmla="*/ 0 w 280498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804986" h="6858000">
                <a:moveTo>
                  <a:pt x="2480808" y="0"/>
                </a:moveTo>
                <a:lnTo>
                  <a:pt x="2804986" y="0"/>
                </a:lnTo>
                <a:lnTo>
                  <a:pt x="324177" y="6858000"/>
                </a:lnTo>
                <a:lnTo>
                  <a:pt x="0" y="6858000"/>
                </a:lnTo>
                <a:close/>
              </a:path>
            </a:pathLst>
          </a:cu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190" name="îṧlîďê">
            <a:extLst>
              <a:ext uri="{FF2B5EF4-FFF2-40B4-BE49-F238E27FC236}">
                <a16:creationId xmlns:a16="http://schemas.microsoft.com/office/drawing/2014/main" id="{03A8097C-38EA-43F6-969A-0BA0766FA310}"/>
              </a:ext>
            </a:extLst>
          </p:cNvPr>
          <p:cNvSpPr/>
          <p:nvPr userDrawn="1"/>
        </p:nvSpPr>
        <p:spPr>
          <a:xfrm>
            <a:off x="7125467" y="0"/>
            <a:ext cx="3789277" cy="6858000"/>
          </a:xfrm>
          <a:custGeom>
            <a:avLst/>
            <a:gdLst>
              <a:gd name="connsiteX0" fmla="*/ 2480808 w 2804986"/>
              <a:gd name="connsiteY0" fmla="*/ 0 h 6858000"/>
              <a:gd name="connsiteX1" fmla="*/ 2804986 w 2804986"/>
              <a:gd name="connsiteY1" fmla="*/ 0 h 6858000"/>
              <a:gd name="connsiteX2" fmla="*/ 324177 w 2804986"/>
              <a:gd name="connsiteY2" fmla="*/ 6858000 h 6858000"/>
              <a:gd name="connsiteX3" fmla="*/ 0 w 280498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804986" h="6858000">
                <a:moveTo>
                  <a:pt x="2480808" y="0"/>
                </a:moveTo>
                <a:lnTo>
                  <a:pt x="2804986" y="0"/>
                </a:lnTo>
                <a:lnTo>
                  <a:pt x="324177" y="6858000"/>
                </a:lnTo>
                <a:lnTo>
                  <a:pt x="0" y="6858000"/>
                </a:lnTo>
                <a:close/>
              </a:path>
            </a:pathLst>
          </a:cu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191" name="ïṧḻïḋè">
            <a:extLst>
              <a:ext uri="{FF2B5EF4-FFF2-40B4-BE49-F238E27FC236}">
                <a16:creationId xmlns:a16="http://schemas.microsoft.com/office/drawing/2014/main" id="{0D96A5A3-7363-439E-A8C3-1BCB6C97CFC0}"/>
              </a:ext>
            </a:extLst>
          </p:cNvPr>
          <p:cNvSpPr/>
          <p:nvPr userDrawn="1"/>
        </p:nvSpPr>
        <p:spPr>
          <a:xfrm>
            <a:off x="6091411" y="0"/>
            <a:ext cx="3789277" cy="6858000"/>
          </a:xfrm>
          <a:custGeom>
            <a:avLst/>
            <a:gdLst>
              <a:gd name="connsiteX0" fmla="*/ 2480808 w 2804986"/>
              <a:gd name="connsiteY0" fmla="*/ 0 h 6858000"/>
              <a:gd name="connsiteX1" fmla="*/ 2804986 w 2804986"/>
              <a:gd name="connsiteY1" fmla="*/ 0 h 6858000"/>
              <a:gd name="connsiteX2" fmla="*/ 324177 w 2804986"/>
              <a:gd name="connsiteY2" fmla="*/ 6858000 h 6858000"/>
              <a:gd name="connsiteX3" fmla="*/ 0 w 280498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804986" h="6858000">
                <a:moveTo>
                  <a:pt x="2480808" y="0"/>
                </a:moveTo>
                <a:lnTo>
                  <a:pt x="2804986" y="0"/>
                </a:lnTo>
                <a:lnTo>
                  <a:pt x="324177" y="6858000"/>
                </a:lnTo>
                <a:lnTo>
                  <a:pt x="0" y="6858000"/>
                </a:lnTo>
                <a:close/>
              </a:path>
            </a:pathLst>
          </a:cu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192" name="ïŝḻîḑè">
            <a:extLst>
              <a:ext uri="{FF2B5EF4-FFF2-40B4-BE49-F238E27FC236}">
                <a16:creationId xmlns:a16="http://schemas.microsoft.com/office/drawing/2014/main" id="{F2F929E6-6FA7-407C-81C1-21D4F5B26789}"/>
              </a:ext>
            </a:extLst>
          </p:cNvPr>
          <p:cNvSpPr/>
          <p:nvPr userDrawn="1"/>
        </p:nvSpPr>
        <p:spPr>
          <a:xfrm>
            <a:off x="10451074" y="1944914"/>
            <a:ext cx="927337" cy="1001486"/>
          </a:xfrm>
          <a:custGeom>
            <a:avLst/>
            <a:gdLst>
              <a:gd name="connsiteX0" fmla="*/ 362277 w 686455"/>
              <a:gd name="connsiteY0" fmla="*/ 0 h 1001486"/>
              <a:gd name="connsiteX1" fmla="*/ 686455 w 686455"/>
              <a:gd name="connsiteY1" fmla="*/ 0 h 1001486"/>
              <a:gd name="connsiteX2" fmla="*/ 324178 w 686455"/>
              <a:gd name="connsiteY2" fmla="*/ 1001486 h 1001486"/>
              <a:gd name="connsiteX3" fmla="*/ 0 w 686455"/>
              <a:gd name="connsiteY3" fmla="*/ 1001486 h 1001486"/>
            </a:gdLst>
            <a:ahLst/>
            <a:cxnLst>
              <a:cxn ang="0">
                <a:pos x="connsiteX0" y="connsiteY0"/>
              </a:cxn>
              <a:cxn ang="0">
                <a:pos x="connsiteX1" y="connsiteY1"/>
              </a:cxn>
              <a:cxn ang="0">
                <a:pos x="connsiteX2" y="connsiteY2"/>
              </a:cxn>
              <a:cxn ang="0">
                <a:pos x="connsiteX3" y="connsiteY3"/>
              </a:cxn>
            </a:cxnLst>
            <a:rect l="l" t="t" r="r" b="b"/>
            <a:pathLst>
              <a:path w="686455" h="1001486">
                <a:moveTo>
                  <a:pt x="362277" y="0"/>
                </a:moveTo>
                <a:lnTo>
                  <a:pt x="686455" y="0"/>
                </a:lnTo>
                <a:lnTo>
                  <a:pt x="324178" y="1001486"/>
                </a:lnTo>
                <a:lnTo>
                  <a:pt x="0" y="1001486"/>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3" name="iṧļídè">
            <a:extLst>
              <a:ext uri="{FF2B5EF4-FFF2-40B4-BE49-F238E27FC236}">
                <a16:creationId xmlns:a16="http://schemas.microsoft.com/office/drawing/2014/main" id="{4DFB245C-0055-49ED-8E03-5BF27F554A1E}"/>
              </a:ext>
            </a:extLst>
          </p:cNvPr>
          <p:cNvSpPr/>
          <p:nvPr userDrawn="1"/>
        </p:nvSpPr>
        <p:spPr>
          <a:xfrm>
            <a:off x="957943" y="538843"/>
            <a:ext cx="10276114" cy="5780314"/>
          </a:xfrm>
          <a:prstGeom prst="roundRect">
            <a:avLst>
              <a:gd name="adj" fmla="val 6587"/>
            </a:avLst>
          </a:prstGeom>
          <a:solidFill>
            <a:schemeClr val="bg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4" name="ïŝlídé">
            <a:extLst>
              <a:ext uri="{FF2B5EF4-FFF2-40B4-BE49-F238E27FC236}">
                <a16:creationId xmlns:a16="http://schemas.microsoft.com/office/drawing/2014/main" id="{57BBF5D5-2B3C-4E73-A9E3-6B726B2C8EFA}"/>
              </a:ext>
            </a:extLst>
          </p:cNvPr>
          <p:cNvSpPr/>
          <p:nvPr userDrawn="1"/>
        </p:nvSpPr>
        <p:spPr>
          <a:xfrm>
            <a:off x="0" y="1"/>
            <a:ext cx="1952875" cy="3996253"/>
          </a:xfrm>
          <a:custGeom>
            <a:avLst/>
            <a:gdLst>
              <a:gd name="connsiteX0" fmla="*/ 1514941 w 1952875"/>
              <a:gd name="connsiteY0" fmla="*/ 0 h 3996253"/>
              <a:gd name="connsiteX1" fmla="*/ 1952875 w 1952875"/>
              <a:gd name="connsiteY1" fmla="*/ 0 h 3996253"/>
              <a:gd name="connsiteX2" fmla="*/ 0 w 1952875"/>
              <a:gd name="connsiteY2" fmla="*/ 3996253 h 3996253"/>
              <a:gd name="connsiteX3" fmla="*/ 0 w 1952875"/>
              <a:gd name="connsiteY3" fmla="*/ 3100090 h 3996253"/>
            </a:gdLst>
            <a:ahLst/>
            <a:cxnLst>
              <a:cxn ang="0">
                <a:pos x="connsiteX0" y="connsiteY0"/>
              </a:cxn>
              <a:cxn ang="0">
                <a:pos x="connsiteX1" y="connsiteY1"/>
              </a:cxn>
              <a:cxn ang="0">
                <a:pos x="connsiteX2" y="connsiteY2"/>
              </a:cxn>
              <a:cxn ang="0">
                <a:pos x="connsiteX3" y="connsiteY3"/>
              </a:cxn>
            </a:cxnLst>
            <a:rect l="l" t="t" r="r" b="b"/>
            <a:pathLst>
              <a:path w="1952875" h="3996253">
                <a:moveTo>
                  <a:pt x="1514941" y="0"/>
                </a:moveTo>
                <a:lnTo>
                  <a:pt x="1952875" y="0"/>
                </a:lnTo>
                <a:lnTo>
                  <a:pt x="0" y="3996253"/>
                </a:lnTo>
                <a:lnTo>
                  <a:pt x="0" y="3100090"/>
                </a:lnTo>
                <a:close/>
              </a:path>
            </a:pathLst>
          </a:cu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195" name="îŝlíḋé">
            <a:extLst>
              <a:ext uri="{FF2B5EF4-FFF2-40B4-BE49-F238E27FC236}">
                <a16:creationId xmlns:a16="http://schemas.microsoft.com/office/drawing/2014/main" id="{CA0D931B-F81E-4F23-9A55-C983EF0723B8}"/>
              </a:ext>
            </a:extLst>
          </p:cNvPr>
          <p:cNvSpPr/>
          <p:nvPr userDrawn="1"/>
        </p:nvSpPr>
        <p:spPr>
          <a:xfrm>
            <a:off x="475188" y="409888"/>
            <a:ext cx="927337" cy="1001486"/>
          </a:xfrm>
          <a:custGeom>
            <a:avLst/>
            <a:gdLst>
              <a:gd name="connsiteX0" fmla="*/ 362277 w 686455"/>
              <a:gd name="connsiteY0" fmla="*/ 0 h 1001486"/>
              <a:gd name="connsiteX1" fmla="*/ 686455 w 686455"/>
              <a:gd name="connsiteY1" fmla="*/ 0 h 1001486"/>
              <a:gd name="connsiteX2" fmla="*/ 324178 w 686455"/>
              <a:gd name="connsiteY2" fmla="*/ 1001486 h 1001486"/>
              <a:gd name="connsiteX3" fmla="*/ 0 w 686455"/>
              <a:gd name="connsiteY3" fmla="*/ 1001486 h 1001486"/>
            </a:gdLst>
            <a:ahLst/>
            <a:cxnLst>
              <a:cxn ang="0">
                <a:pos x="connsiteX0" y="connsiteY0"/>
              </a:cxn>
              <a:cxn ang="0">
                <a:pos x="connsiteX1" y="connsiteY1"/>
              </a:cxn>
              <a:cxn ang="0">
                <a:pos x="connsiteX2" y="connsiteY2"/>
              </a:cxn>
              <a:cxn ang="0">
                <a:pos x="connsiteX3" y="connsiteY3"/>
              </a:cxn>
            </a:cxnLst>
            <a:rect l="l" t="t" r="r" b="b"/>
            <a:pathLst>
              <a:path w="686455" h="1001486">
                <a:moveTo>
                  <a:pt x="362277" y="0"/>
                </a:moveTo>
                <a:lnTo>
                  <a:pt x="686455" y="0"/>
                </a:lnTo>
                <a:lnTo>
                  <a:pt x="324178" y="1001486"/>
                </a:lnTo>
                <a:lnTo>
                  <a:pt x="0" y="1001486"/>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副标题 9800"/>
          <p:cNvSpPr>
            <a:spLocks noGrp="1"/>
          </p:cNvSpPr>
          <p:nvPr userDrawn="1">
            <p:ph type="subTitle" idx="1" hasCustomPrompt="1"/>
          </p:nvPr>
        </p:nvSpPr>
        <p:spPr>
          <a:xfrm>
            <a:off x="2361909" y="1998127"/>
            <a:ext cx="7539502" cy="558799"/>
          </a:xfrm>
        </p:spPr>
        <p:txBody>
          <a:bodyPr vert="horz" lIns="91440" tIns="45720" rIns="91440" bIns="45720" rtlCol="0" anchor="t">
            <a:normAutofit/>
          </a:bodyPr>
          <a:lstStyle>
            <a:lvl1pPr marL="0" indent="0">
              <a:buFont typeface="Arial" panose="020B0604020202020204" pitchFamily="34" charset="0"/>
              <a:buNone/>
              <a:defRPr kumimoji="0" lang="en-US" sz="1600" b="1" i="0" u="none" strike="noStrike" cap="none" spc="3000" normalizeH="0" baseline="0" dirty="0">
                <a:ln>
                  <a:noFill/>
                </a:ln>
                <a:solidFill>
                  <a:schemeClr val="accent3"/>
                </a:solidFill>
                <a:effectLst/>
                <a:uLnTx/>
                <a:uFillTx/>
                <a:latin typeface="Arial"/>
                <a:ea typeface="微软雅黑"/>
              </a:defRPr>
            </a:lvl1pPr>
          </a:lstStyle>
          <a:p>
            <a:pPr marL="342900" marR="0" lvl="0" indent="-342900" algn="ctr" fontAlgn="auto">
              <a:spcAft>
                <a:spcPts val="0"/>
              </a:spcAft>
              <a:buClrTx/>
              <a:buSzTx/>
              <a:tabLst/>
            </a:pPr>
            <a:r>
              <a:rPr lang="en-US" dirty="0"/>
              <a:t>CLICK TO EDIT MASTER SUBTITLE STYLE</a:t>
            </a:r>
          </a:p>
        </p:txBody>
      </p:sp>
      <p:sp>
        <p:nvSpPr>
          <p:cNvPr id="9802" name="标题 9801"/>
          <p:cNvSpPr>
            <a:spLocks noGrp="1"/>
          </p:cNvSpPr>
          <p:nvPr userDrawn="1">
            <p:ph type="ctrTitle" hasCustomPrompt="1"/>
          </p:nvPr>
        </p:nvSpPr>
        <p:spPr>
          <a:xfrm>
            <a:off x="991647" y="2720158"/>
            <a:ext cx="10276114" cy="1405050"/>
          </a:xfrm>
        </p:spPr>
        <p:txBody>
          <a:bodyPr vert="horz" lIns="91440" tIns="45720" rIns="91440" bIns="45720" rtlCol="0" anchor="b" anchorCtr="0">
            <a:normAutofit/>
          </a:bodyPr>
          <a:lstStyle>
            <a:lvl1pPr algn="ctr">
              <a:defRPr kumimoji="0" lang="zh-CN" altLang="en-US" sz="4800" b="0" i="0" u="none" strike="noStrike" cap="none" spc="0" normalizeH="0" baseline="0" dirty="0">
                <a:ln>
                  <a:noFill/>
                </a:ln>
                <a:solidFill>
                  <a:schemeClr val="accent1"/>
                </a:solidFill>
                <a:effectLst/>
                <a:uLnTx/>
                <a:uFillTx/>
                <a:latin typeface="Arial Black" panose="020B0A04020102020204" pitchFamily="34" charset="0"/>
                <a:ea typeface="微软雅黑"/>
              </a:defRPr>
            </a:lvl1pPr>
          </a:lstStyle>
          <a:p>
            <a:pPr marL="0" marR="0" lvl="0" indent="0" algn="ctr" fontAlgn="auto">
              <a:spcAft>
                <a:spcPts val="0"/>
              </a:spcAft>
              <a:buClrTx/>
              <a:buSzTx/>
              <a:buFontTx/>
              <a:tabLst/>
            </a:pPr>
            <a:r>
              <a:rPr lang="en-US" dirty="0"/>
              <a:t>Click to edit Master title style</a:t>
            </a:r>
            <a:endParaRPr lang="zh-CN" altLang="en-US" dirty="0"/>
          </a:p>
        </p:txBody>
      </p:sp>
      <p:sp>
        <p:nvSpPr>
          <p:cNvPr id="12" name="文本占位符 11"/>
          <p:cNvSpPr>
            <a:spLocks noGrp="1"/>
          </p:cNvSpPr>
          <p:nvPr userDrawn="1">
            <p:ph type="body" sz="quarter" idx="10" hasCustomPrompt="1"/>
          </p:nvPr>
        </p:nvSpPr>
        <p:spPr>
          <a:xfrm>
            <a:off x="3159196" y="5104179"/>
            <a:ext cx="5873609" cy="296271"/>
          </a:xfrm>
        </p:spPr>
        <p:txBody>
          <a:bodyPr vert="horz" lIns="91440" tIns="45720" rIns="91440" bIns="45720" rtlCol="0" anchor="ctr">
            <a:noAutofit/>
          </a:bodyPr>
          <a:lstStyle>
            <a:lvl1pPr marL="0" indent="0" algn="ctr">
              <a:buNone/>
              <a:defRPr kumimoji="0" lang="en-US" altLang="zh-CN" sz="1400" b="0" i="0" u="none" strike="noStrike" cap="none" spc="0" normalizeH="0" baseline="0" dirty="0">
                <a:ln>
                  <a:noFill/>
                </a:ln>
                <a:solidFill>
                  <a:schemeClr val="accent5">
                    <a:lumMod val="60000"/>
                    <a:lumOff val="40000"/>
                  </a:schemeClr>
                </a:solidFill>
                <a:effectLst/>
                <a:uLnTx/>
                <a:uFillTx/>
                <a:latin typeface="Arial"/>
                <a:ea typeface="微软雅黑"/>
              </a:defRPr>
            </a:lvl1pPr>
          </a:lstStyle>
          <a:p>
            <a:pPr marL="228589" marR="0" lvl="0" indent="-228589" algn="ctr" fontAlgn="auto">
              <a:spcAft>
                <a:spcPts val="0"/>
              </a:spcAft>
              <a:buClrTx/>
              <a:buSzTx/>
              <a:tabLst/>
            </a:pPr>
            <a:r>
              <a:rPr lang="en-US" altLang="zh-CN" dirty="0"/>
              <a:t>Signature</a:t>
            </a:r>
          </a:p>
        </p:txBody>
      </p:sp>
      <p:sp>
        <p:nvSpPr>
          <p:cNvPr id="13" name="文本占位符 12"/>
          <p:cNvSpPr>
            <a:spLocks noGrp="1"/>
          </p:cNvSpPr>
          <p:nvPr userDrawn="1">
            <p:ph type="body" sz="quarter" idx="11" hasCustomPrompt="1"/>
          </p:nvPr>
        </p:nvSpPr>
        <p:spPr>
          <a:xfrm>
            <a:off x="3159196" y="5400450"/>
            <a:ext cx="5873609" cy="296271"/>
          </a:xfrm>
        </p:spPr>
        <p:txBody>
          <a:bodyPr vert="horz" lIns="91440" tIns="45720" rIns="91440" bIns="45720" rtlCol="0" anchor="ctr">
            <a:noAutofit/>
          </a:bodyPr>
          <a:lstStyle>
            <a:lvl1pPr marL="0" indent="0" algn="ctr">
              <a:buNone/>
              <a:defRPr kumimoji="0" lang="zh-CN" altLang="en-US" sz="1400" b="0" i="0" u="none" strike="noStrike" cap="none" spc="0" normalizeH="0" baseline="0" dirty="0">
                <a:ln>
                  <a:noFill/>
                </a:ln>
                <a:solidFill>
                  <a:schemeClr val="accent5">
                    <a:lumMod val="60000"/>
                    <a:lumOff val="40000"/>
                  </a:schemeClr>
                </a:solidFill>
                <a:effectLst/>
                <a:uLnTx/>
                <a:uFillTx/>
                <a:latin typeface="Arial"/>
                <a:ea typeface="微软雅黑"/>
              </a:defRPr>
            </a:lvl1pPr>
          </a:lstStyle>
          <a:p>
            <a:pPr marL="228589" marR="0" lvl="0" indent="-228589" algn="ctr" fontAlgn="auto">
              <a:spcAft>
                <a:spcPts val="0"/>
              </a:spcAft>
              <a:buClrTx/>
              <a:buSzTx/>
              <a:tabLst/>
            </a:pPr>
            <a:r>
              <a:rPr lang="en-US" altLang="zh-CN" dirty="0"/>
              <a:t>Date</a:t>
            </a:r>
            <a:endParaRPr lang="zh-CN" altLang="en-US" dirty="0"/>
          </a:p>
        </p:txBody>
      </p:sp>
      <p:grpSp>
        <p:nvGrpSpPr>
          <p:cNvPr id="197" name="组合 196">
            <a:extLst>
              <a:ext uri="{FF2B5EF4-FFF2-40B4-BE49-F238E27FC236}">
                <a16:creationId xmlns:a16="http://schemas.microsoft.com/office/drawing/2014/main" id="{15ACF8F9-44FD-4091-989D-A806F18DB88F}"/>
              </a:ext>
            </a:extLst>
          </p:cNvPr>
          <p:cNvGrpSpPr/>
          <p:nvPr userDrawn="1"/>
        </p:nvGrpSpPr>
        <p:grpSpPr>
          <a:xfrm>
            <a:off x="2281411" y="2423886"/>
            <a:ext cx="7620000" cy="1959429"/>
            <a:chOff x="2281411" y="2423886"/>
            <a:chExt cx="7620000" cy="1959429"/>
          </a:xfrm>
        </p:grpSpPr>
        <p:cxnSp>
          <p:nvCxnSpPr>
            <p:cNvPr id="198" name="直接连接符 197">
              <a:extLst>
                <a:ext uri="{FF2B5EF4-FFF2-40B4-BE49-F238E27FC236}">
                  <a16:creationId xmlns:a16="http://schemas.microsoft.com/office/drawing/2014/main" id="{45697219-2E90-4D98-9529-A9E0964AF136}"/>
                </a:ext>
              </a:extLst>
            </p:cNvPr>
            <p:cNvCxnSpPr/>
            <p:nvPr/>
          </p:nvCxnSpPr>
          <p:spPr>
            <a:xfrm>
              <a:off x="2281411" y="2423886"/>
              <a:ext cx="762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9" name="直接连接符 198">
              <a:extLst>
                <a:ext uri="{FF2B5EF4-FFF2-40B4-BE49-F238E27FC236}">
                  <a16:creationId xmlns:a16="http://schemas.microsoft.com/office/drawing/2014/main" id="{B27D7DF9-20DE-491F-992C-042F021B180A}"/>
                </a:ext>
              </a:extLst>
            </p:cNvPr>
            <p:cNvCxnSpPr/>
            <p:nvPr/>
          </p:nvCxnSpPr>
          <p:spPr>
            <a:xfrm>
              <a:off x="2281411" y="4383315"/>
              <a:ext cx="7620000"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10" name="iṡḷïďê">
            <a:extLst>
              <a:ext uri="{FF2B5EF4-FFF2-40B4-BE49-F238E27FC236}">
                <a16:creationId xmlns:a16="http://schemas.microsoft.com/office/drawing/2014/main" id="{DE504534-601C-4C9C-85E8-3B8EF28EB02E}"/>
              </a:ext>
            </a:extLst>
          </p:cNvPr>
          <p:cNvSpPr/>
          <p:nvPr userDrawn="1"/>
        </p:nvSpPr>
        <p:spPr>
          <a:xfrm>
            <a:off x="0" y="0"/>
            <a:ext cx="12192000"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1" name="dde2c2de-4721-42d5-ad7a-0e7cc101037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2A622CF3-8870-477C-9EED-A9A795AD2B38}"/>
              </a:ext>
            </a:extLst>
          </p:cNvPr>
          <p:cNvGrpSpPr>
            <a:grpSpLocks noChangeAspect="1"/>
          </p:cNvGrpSpPr>
          <p:nvPr userDrawn="1">
            <p:custDataLst>
              <p:tags r:id="rId1"/>
            </p:custDataLst>
          </p:nvPr>
        </p:nvGrpSpPr>
        <p:grpSpPr>
          <a:xfrm>
            <a:off x="987743" y="1092233"/>
            <a:ext cx="10223944" cy="4922092"/>
            <a:chOff x="1071716" y="1247323"/>
            <a:chExt cx="10048568" cy="4837661"/>
          </a:xfrm>
          <a:solidFill>
            <a:schemeClr val="bg1">
              <a:alpha val="64000"/>
            </a:schemeClr>
          </a:solidFill>
        </p:grpSpPr>
        <p:sp>
          <p:nvSpPr>
            <p:cNvPr id="12" name="iṧlïḋè">
              <a:extLst>
                <a:ext uri="{FF2B5EF4-FFF2-40B4-BE49-F238E27FC236}">
                  <a16:creationId xmlns:a16="http://schemas.microsoft.com/office/drawing/2014/main" id="{391F8B10-83B9-4276-BAEE-19BA958ED50F}"/>
                </a:ext>
              </a:extLst>
            </p:cNvPr>
            <p:cNvSpPr/>
            <p:nvPr/>
          </p:nvSpPr>
          <p:spPr>
            <a:xfrm>
              <a:off x="1071716" y="1560254"/>
              <a:ext cx="2892665" cy="2241492"/>
            </a:xfrm>
            <a:custGeom>
              <a:avLst/>
              <a:gdLst/>
              <a:ahLst/>
              <a:cxnLst>
                <a:cxn ang="0">
                  <a:pos x="wd2" y="hd2"/>
                </a:cxn>
                <a:cxn ang="5400000">
                  <a:pos x="wd2" y="hd2"/>
                </a:cxn>
                <a:cxn ang="10800000">
                  <a:pos x="wd2" y="hd2"/>
                </a:cxn>
                <a:cxn ang="16200000">
                  <a:pos x="wd2" y="hd2"/>
                </a:cxn>
              </a:cxnLst>
              <a:rect l="0" t="0" r="r" b="b"/>
              <a:pathLst>
                <a:path w="21600" h="21600" extrusionOk="0">
                  <a:moveTo>
                    <a:pt x="3471" y="862"/>
                  </a:moveTo>
                  <a:lnTo>
                    <a:pt x="3355" y="857"/>
                  </a:lnTo>
                  <a:lnTo>
                    <a:pt x="3271" y="882"/>
                  </a:lnTo>
                  <a:lnTo>
                    <a:pt x="3183" y="953"/>
                  </a:lnTo>
                  <a:lnTo>
                    <a:pt x="3184" y="1042"/>
                  </a:lnTo>
                  <a:lnTo>
                    <a:pt x="3333" y="1224"/>
                  </a:lnTo>
                  <a:lnTo>
                    <a:pt x="3405" y="1341"/>
                  </a:lnTo>
                  <a:lnTo>
                    <a:pt x="3390" y="1464"/>
                  </a:lnTo>
                  <a:lnTo>
                    <a:pt x="3242" y="1537"/>
                  </a:lnTo>
                  <a:lnTo>
                    <a:pt x="3142" y="1593"/>
                  </a:lnTo>
                  <a:lnTo>
                    <a:pt x="3051" y="1629"/>
                  </a:lnTo>
                  <a:lnTo>
                    <a:pt x="2932" y="1629"/>
                  </a:lnTo>
                  <a:lnTo>
                    <a:pt x="2859" y="1585"/>
                  </a:lnTo>
                  <a:lnTo>
                    <a:pt x="2789" y="1563"/>
                  </a:lnTo>
                  <a:lnTo>
                    <a:pt x="2709" y="1563"/>
                  </a:lnTo>
                  <a:lnTo>
                    <a:pt x="2538" y="1534"/>
                  </a:lnTo>
                  <a:lnTo>
                    <a:pt x="2466" y="1563"/>
                  </a:lnTo>
                  <a:lnTo>
                    <a:pt x="2365" y="1607"/>
                  </a:lnTo>
                  <a:lnTo>
                    <a:pt x="2298" y="1641"/>
                  </a:lnTo>
                  <a:lnTo>
                    <a:pt x="2170" y="1699"/>
                  </a:lnTo>
                  <a:lnTo>
                    <a:pt x="2067" y="1750"/>
                  </a:lnTo>
                  <a:lnTo>
                    <a:pt x="1990" y="1821"/>
                  </a:lnTo>
                  <a:lnTo>
                    <a:pt x="1951" y="1874"/>
                  </a:lnTo>
                  <a:lnTo>
                    <a:pt x="1983" y="1939"/>
                  </a:lnTo>
                  <a:lnTo>
                    <a:pt x="2111" y="2002"/>
                  </a:lnTo>
                  <a:lnTo>
                    <a:pt x="2233" y="2014"/>
                  </a:lnTo>
                  <a:lnTo>
                    <a:pt x="2276" y="2084"/>
                  </a:lnTo>
                  <a:lnTo>
                    <a:pt x="2346" y="2091"/>
                  </a:lnTo>
                  <a:lnTo>
                    <a:pt x="2437" y="2062"/>
                  </a:lnTo>
                  <a:lnTo>
                    <a:pt x="2540" y="1999"/>
                  </a:lnTo>
                  <a:lnTo>
                    <a:pt x="2612" y="1957"/>
                  </a:lnTo>
                  <a:lnTo>
                    <a:pt x="2743" y="1921"/>
                  </a:lnTo>
                  <a:lnTo>
                    <a:pt x="2857" y="1964"/>
                  </a:lnTo>
                  <a:lnTo>
                    <a:pt x="2857" y="2077"/>
                  </a:lnTo>
                  <a:lnTo>
                    <a:pt x="2787" y="2146"/>
                  </a:lnTo>
                  <a:lnTo>
                    <a:pt x="2684" y="2233"/>
                  </a:lnTo>
                  <a:lnTo>
                    <a:pt x="2588" y="2379"/>
                  </a:lnTo>
                  <a:lnTo>
                    <a:pt x="2406" y="2517"/>
                  </a:lnTo>
                  <a:lnTo>
                    <a:pt x="2207" y="2539"/>
                  </a:lnTo>
                  <a:lnTo>
                    <a:pt x="1909" y="2568"/>
                  </a:lnTo>
                  <a:lnTo>
                    <a:pt x="1651" y="2627"/>
                  </a:lnTo>
                  <a:lnTo>
                    <a:pt x="1469" y="2721"/>
                  </a:lnTo>
                  <a:lnTo>
                    <a:pt x="1322" y="2843"/>
                  </a:lnTo>
                  <a:lnTo>
                    <a:pt x="1251" y="2882"/>
                  </a:lnTo>
                  <a:lnTo>
                    <a:pt x="1186" y="3000"/>
                  </a:lnTo>
                  <a:lnTo>
                    <a:pt x="1231" y="3090"/>
                  </a:lnTo>
                  <a:lnTo>
                    <a:pt x="1253" y="3243"/>
                  </a:lnTo>
                  <a:lnTo>
                    <a:pt x="1206" y="3386"/>
                  </a:lnTo>
                  <a:lnTo>
                    <a:pt x="1138" y="3503"/>
                  </a:lnTo>
                  <a:lnTo>
                    <a:pt x="1047" y="3568"/>
                  </a:lnTo>
                  <a:lnTo>
                    <a:pt x="990" y="3598"/>
                  </a:lnTo>
                  <a:lnTo>
                    <a:pt x="895" y="3671"/>
                  </a:lnTo>
                  <a:lnTo>
                    <a:pt x="846" y="3748"/>
                  </a:lnTo>
                  <a:lnTo>
                    <a:pt x="900" y="3817"/>
                  </a:lnTo>
                  <a:lnTo>
                    <a:pt x="1049" y="3874"/>
                  </a:lnTo>
                  <a:lnTo>
                    <a:pt x="1159" y="3952"/>
                  </a:lnTo>
                  <a:lnTo>
                    <a:pt x="1272" y="3905"/>
                  </a:lnTo>
                  <a:lnTo>
                    <a:pt x="1375" y="3811"/>
                  </a:lnTo>
                  <a:lnTo>
                    <a:pt x="1500" y="3789"/>
                  </a:lnTo>
                  <a:lnTo>
                    <a:pt x="1562" y="3898"/>
                  </a:lnTo>
                  <a:lnTo>
                    <a:pt x="1479" y="4034"/>
                  </a:lnTo>
                  <a:lnTo>
                    <a:pt x="1276" y="4180"/>
                  </a:lnTo>
                  <a:lnTo>
                    <a:pt x="967" y="4357"/>
                  </a:lnTo>
                  <a:lnTo>
                    <a:pt x="603" y="4579"/>
                  </a:lnTo>
                  <a:lnTo>
                    <a:pt x="227" y="4739"/>
                  </a:lnTo>
                  <a:lnTo>
                    <a:pt x="77" y="4776"/>
                  </a:lnTo>
                  <a:lnTo>
                    <a:pt x="0" y="4852"/>
                  </a:lnTo>
                  <a:lnTo>
                    <a:pt x="90" y="4896"/>
                  </a:lnTo>
                  <a:lnTo>
                    <a:pt x="253" y="4896"/>
                  </a:lnTo>
                  <a:lnTo>
                    <a:pt x="574" y="4762"/>
                  </a:lnTo>
                  <a:lnTo>
                    <a:pt x="1090" y="4512"/>
                  </a:lnTo>
                  <a:lnTo>
                    <a:pt x="1721" y="4146"/>
                  </a:lnTo>
                  <a:lnTo>
                    <a:pt x="1947" y="4061"/>
                  </a:lnTo>
                  <a:lnTo>
                    <a:pt x="2151" y="4010"/>
                  </a:lnTo>
                  <a:lnTo>
                    <a:pt x="2424" y="3876"/>
                  </a:lnTo>
                  <a:lnTo>
                    <a:pt x="2669" y="3694"/>
                  </a:lnTo>
                  <a:lnTo>
                    <a:pt x="2845" y="3589"/>
                  </a:lnTo>
                  <a:lnTo>
                    <a:pt x="3007" y="3485"/>
                  </a:lnTo>
                  <a:lnTo>
                    <a:pt x="3144" y="3448"/>
                  </a:lnTo>
                  <a:lnTo>
                    <a:pt x="3223" y="3477"/>
                  </a:lnTo>
                  <a:lnTo>
                    <a:pt x="3316" y="3526"/>
                  </a:lnTo>
                  <a:lnTo>
                    <a:pt x="3468" y="3467"/>
                  </a:lnTo>
                  <a:lnTo>
                    <a:pt x="3802" y="3365"/>
                  </a:lnTo>
                  <a:lnTo>
                    <a:pt x="3944" y="3233"/>
                  </a:lnTo>
                  <a:lnTo>
                    <a:pt x="4086" y="3138"/>
                  </a:lnTo>
                  <a:lnTo>
                    <a:pt x="4204" y="3181"/>
                  </a:lnTo>
                  <a:lnTo>
                    <a:pt x="4397" y="3244"/>
                  </a:lnTo>
                  <a:lnTo>
                    <a:pt x="4521" y="3281"/>
                  </a:lnTo>
                  <a:lnTo>
                    <a:pt x="4639" y="3339"/>
                  </a:lnTo>
                  <a:lnTo>
                    <a:pt x="4775" y="3368"/>
                  </a:lnTo>
                  <a:lnTo>
                    <a:pt x="4854" y="3425"/>
                  </a:lnTo>
                  <a:lnTo>
                    <a:pt x="5019" y="3462"/>
                  </a:lnTo>
                  <a:lnTo>
                    <a:pt x="5175" y="3517"/>
                  </a:lnTo>
                  <a:lnTo>
                    <a:pt x="5355" y="3539"/>
                  </a:lnTo>
                  <a:lnTo>
                    <a:pt x="5417" y="3626"/>
                  </a:lnTo>
                  <a:lnTo>
                    <a:pt x="5565" y="3719"/>
                  </a:lnTo>
                  <a:lnTo>
                    <a:pt x="5597" y="3852"/>
                  </a:lnTo>
                  <a:lnTo>
                    <a:pt x="5745" y="3981"/>
                  </a:lnTo>
                  <a:lnTo>
                    <a:pt x="5908" y="3981"/>
                  </a:lnTo>
                  <a:lnTo>
                    <a:pt x="6085" y="4147"/>
                  </a:lnTo>
                  <a:lnTo>
                    <a:pt x="6174" y="4375"/>
                  </a:lnTo>
                  <a:lnTo>
                    <a:pt x="6176" y="4532"/>
                  </a:lnTo>
                  <a:lnTo>
                    <a:pt x="6104" y="4646"/>
                  </a:lnTo>
                  <a:lnTo>
                    <a:pt x="6105" y="4760"/>
                  </a:lnTo>
                  <a:lnTo>
                    <a:pt x="6133" y="4859"/>
                  </a:lnTo>
                  <a:lnTo>
                    <a:pt x="6182" y="4992"/>
                  </a:lnTo>
                  <a:lnTo>
                    <a:pt x="6142" y="5132"/>
                  </a:lnTo>
                  <a:lnTo>
                    <a:pt x="6087" y="5256"/>
                  </a:lnTo>
                  <a:lnTo>
                    <a:pt x="6047" y="5423"/>
                  </a:lnTo>
                  <a:lnTo>
                    <a:pt x="5980" y="5547"/>
                  </a:lnTo>
                  <a:lnTo>
                    <a:pt x="5974" y="5648"/>
                  </a:lnTo>
                  <a:lnTo>
                    <a:pt x="5991" y="5729"/>
                  </a:lnTo>
                  <a:lnTo>
                    <a:pt x="6063" y="5807"/>
                  </a:lnTo>
                  <a:lnTo>
                    <a:pt x="6052" y="5953"/>
                  </a:lnTo>
                  <a:lnTo>
                    <a:pt x="5940" y="6067"/>
                  </a:lnTo>
                  <a:lnTo>
                    <a:pt x="5904" y="6154"/>
                  </a:lnTo>
                  <a:lnTo>
                    <a:pt x="5939" y="6241"/>
                  </a:lnTo>
                  <a:lnTo>
                    <a:pt x="6058" y="6365"/>
                  </a:lnTo>
                  <a:lnTo>
                    <a:pt x="6223" y="6556"/>
                  </a:lnTo>
                  <a:lnTo>
                    <a:pt x="6343" y="6699"/>
                  </a:lnTo>
                  <a:lnTo>
                    <a:pt x="6434" y="6845"/>
                  </a:lnTo>
                  <a:lnTo>
                    <a:pt x="6500" y="7107"/>
                  </a:lnTo>
                  <a:lnTo>
                    <a:pt x="6489" y="7297"/>
                  </a:lnTo>
                  <a:lnTo>
                    <a:pt x="6460" y="7435"/>
                  </a:lnTo>
                  <a:lnTo>
                    <a:pt x="6404" y="7536"/>
                  </a:lnTo>
                  <a:lnTo>
                    <a:pt x="6347" y="7646"/>
                  </a:lnTo>
                  <a:lnTo>
                    <a:pt x="6233" y="7774"/>
                  </a:lnTo>
                  <a:lnTo>
                    <a:pt x="6155" y="7825"/>
                  </a:lnTo>
                  <a:lnTo>
                    <a:pt x="6116" y="7774"/>
                  </a:lnTo>
                  <a:lnTo>
                    <a:pt x="6099" y="7686"/>
                  </a:lnTo>
                  <a:lnTo>
                    <a:pt x="6184" y="7556"/>
                  </a:lnTo>
                  <a:lnTo>
                    <a:pt x="6118" y="7534"/>
                  </a:lnTo>
                  <a:lnTo>
                    <a:pt x="5937" y="7519"/>
                  </a:lnTo>
                  <a:lnTo>
                    <a:pt x="5869" y="7534"/>
                  </a:lnTo>
                  <a:lnTo>
                    <a:pt x="5847" y="7626"/>
                  </a:lnTo>
                  <a:lnTo>
                    <a:pt x="5773" y="7891"/>
                  </a:lnTo>
                  <a:lnTo>
                    <a:pt x="5640" y="8226"/>
                  </a:lnTo>
                  <a:lnTo>
                    <a:pt x="5551" y="8409"/>
                  </a:lnTo>
                  <a:lnTo>
                    <a:pt x="5477" y="8496"/>
                  </a:lnTo>
                  <a:lnTo>
                    <a:pt x="5437" y="8605"/>
                  </a:lnTo>
                  <a:lnTo>
                    <a:pt x="5358" y="8684"/>
                  </a:lnTo>
                  <a:lnTo>
                    <a:pt x="5286" y="8789"/>
                  </a:lnTo>
                  <a:lnTo>
                    <a:pt x="5207" y="8896"/>
                  </a:lnTo>
                  <a:lnTo>
                    <a:pt x="5129" y="8983"/>
                  </a:lnTo>
                  <a:lnTo>
                    <a:pt x="5067" y="9121"/>
                  </a:lnTo>
                  <a:lnTo>
                    <a:pt x="4998" y="9301"/>
                  </a:lnTo>
                  <a:lnTo>
                    <a:pt x="4938" y="9544"/>
                  </a:lnTo>
                  <a:lnTo>
                    <a:pt x="4887" y="9705"/>
                  </a:lnTo>
                  <a:lnTo>
                    <a:pt x="4728" y="9947"/>
                  </a:lnTo>
                  <a:lnTo>
                    <a:pt x="4614" y="10032"/>
                  </a:lnTo>
                  <a:lnTo>
                    <a:pt x="4588" y="10124"/>
                  </a:lnTo>
                  <a:lnTo>
                    <a:pt x="4607" y="10221"/>
                  </a:lnTo>
                  <a:lnTo>
                    <a:pt x="4667" y="10298"/>
                  </a:lnTo>
                  <a:lnTo>
                    <a:pt x="4646" y="10400"/>
                  </a:lnTo>
                  <a:lnTo>
                    <a:pt x="4578" y="10466"/>
                  </a:lnTo>
                  <a:lnTo>
                    <a:pt x="4533" y="10596"/>
                  </a:lnTo>
                  <a:lnTo>
                    <a:pt x="4533" y="10730"/>
                  </a:lnTo>
                  <a:lnTo>
                    <a:pt x="4564" y="10866"/>
                  </a:lnTo>
                  <a:lnTo>
                    <a:pt x="4615" y="10975"/>
                  </a:lnTo>
                  <a:lnTo>
                    <a:pt x="4687" y="11050"/>
                  </a:lnTo>
                  <a:lnTo>
                    <a:pt x="4672" y="11124"/>
                  </a:lnTo>
                  <a:lnTo>
                    <a:pt x="4602" y="11167"/>
                  </a:lnTo>
                  <a:lnTo>
                    <a:pt x="4575" y="11232"/>
                  </a:lnTo>
                  <a:lnTo>
                    <a:pt x="4638" y="11310"/>
                  </a:lnTo>
                  <a:lnTo>
                    <a:pt x="4658" y="11489"/>
                  </a:lnTo>
                  <a:lnTo>
                    <a:pt x="4708" y="11732"/>
                  </a:lnTo>
                  <a:lnTo>
                    <a:pt x="4757" y="12031"/>
                  </a:lnTo>
                  <a:lnTo>
                    <a:pt x="4809" y="12198"/>
                  </a:lnTo>
                  <a:lnTo>
                    <a:pt x="4889" y="12242"/>
                  </a:lnTo>
                  <a:lnTo>
                    <a:pt x="4983" y="12307"/>
                  </a:lnTo>
                  <a:lnTo>
                    <a:pt x="5074" y="12365"/>
                  </a:lnTo>
                  <a:lnTo>
                    <a:pt x="5182" y="12551"/>
                  </a:lnTo>
                  <a:lnTo>
                    <a:pt x="5257" y="12784"/>
                  </a:lnTo>
                  <a:lnTo>
                    <a:pt x="5291" y="13051"/>
                  </a:lnTo>
                  <a:lnTo>
                    <a:pt x="5251" y="13252"/>
                  </a:lnTo>
                  <a:lnTo>
                    <a:pt x="5228" y="13427"/>
                  </a:lnTo>
                  <a:lnTo>
                    <a:pt x="5243" y="13556"/>
                  </a:lnTo>
                  <a:lnTo>
                    <a:pt x="5361" y="13731"/>
                  </a:lnTo>
                  <a:lnTo>
                    <a:pt x="5475" y="14018"/>
                  </a:lnTo>
                  <a:lnTo>
                    <a:pt x="5549" y="14237"/>
                  </a:lnTo>
                  <a:lnTo>
                    <a:pt x="5534" y="14380"/>
                  </a:lnTo>
                  <a:lnTo>
                    <a:pt x="5455" y="14489"/>
                  </a:lnTo>
                  <a:lnTo>
                    <a:pt x="5444" y="14620"/>
                  </a:lnTo>
                  <a:lnTo>
                    <a:pt x="5538" y="14705"/>
                  </a:lnTo>
                  <a:lnTo>
                    <a:pt x="5553" y="14790"/>
                  </a:lnTo>
                  <a:lnTo>
                    <a:pt x="5597" y="14873"/>
                  </a:lnTo>
                  <a:lnTo>
                    <a:pt x="5705" y="14957"/>
                  </a:lnTo>
                  <a:lnTo>
                    <a:pt x="5832" y="15137"/>
                  </a:lnTo>
                  <a:lnTo>
                    <a:pt x="5849" y="15280"/>
                  </a:lnTo>
                  <a:lnTo>
                    <a:pt x="5806" y="15409"/>
                  </a:lnTo>
                  <a:lnTo>
                    <a:pt x="5785" y="15479"/>
                  </a:lnTo>
                  <a:lnTo>
                    <a:pt x="5785" y="15568"/>
                  </a:lnTo>
                  <a:lnTo>
                    <a:pt x="5876" y="15690"/>
                  </a:lnTo>
                  <a:lnTo>
                    <a:pt x="5983" y="15842"/>
                  </a:lnTo>
                  <a:lnTo>
                    <a:pt x="6074" y="15973"/>
                  </a:lnTo>
                  <a:lnTo>
                    <a:pt x="6165" y="16095"/>
                  </a:lnTo>
                  <a:lnTo>
                    <a:pt x="6241" y="16141"/>
                  </a:lnTo>
                  <a:lnTo>
                    <a:pt x="6223" y="16045"/>
                  </a:lnTo>
                  <a:lnTo>
                    <a:pt x="6167" y="15916"/>
                  </a:lnTo>
                  <a:lnTo>
                    <a:pt x="6083" y="15746"/>
                  </a:lnTo>
                  <a:lnTo>
                    <a:pt x="6049" y="15645"/>
                  </a:lnTo>
                  <a:lnTo>
                    <a:pt x="6033" y="15535"/>
                  </a:lnTo>
                  <a:lnTo>
                    <a:pt x="6033" y="15389"/>
                  </a:lnTo>
                  <a:lnTo>
                    <a:pt x="6006" y="15260"/>
                  </a:lnTo>
                  <a:lnTo>
                    <a:pt x="5944" y="15173"/>
                  </a:lnTo>
                  <a:lnTo>
                    <a:pt x="5928" y="15052"/>
                  </a:lnTo>
                  <a:lnTo>
                    <a:pt x="5923" y="14877"/>
                  </a:lnTo>
                  <a:lnTo>
                    <a:pt x="5917" y="14782"/>
                  </a:lnTo>
                  <a:lnTo>
                    <a:pt x="5826" y="14534"/>
                  </a:lnTo>
                  <a:lnTo>
                    <a:pt x="5720" y="14254"/>
                  </a:lnTo>
                  <a:lnTo>
                    <a:pt x="5646" y="13909"/>
                  </a:lnTo>
                  <a:lnTo>
                    <a:pt x="5549" y="13654"/>
                  </a:lnTo>
                  <a:lnTo>
                    <a:pt x="5538" y="13489"/>
                  </a:lnTo>
                  <a:lnTo>
                    <a:pt x="5583" y="13314"/>
                  </a:lnTo>
                  <a:lnTo>
                    <a:pt x="5657" y="13214"/>
                  </a:lnTo>
                  <a:lnTo>
                    <a:pt x="5739" y="13178"/>
                  </a:lnTo>
                  <a:lnTo>
                    <a:pt x="5837" y="13204"/>
                  </a:lnTo>
                  <a:lnTo>
                    <a:pt x="6002" y="13298"/>
                  </a:lnTo>
                  <a:lnTo>
                    <a:pt x="6041" y="13466"/>
                  </a:lnTo>
                  <a:lnTo>
                    <a:pt x="6021" y="13669"/>
                  </a:lnTo>
                  <a:lnTo>
                    <a:pt x="6083" y="13842"/>
                  </a:lnTo>
                  <a:lnTo>
                    <a:pt x="6123" y="14044"/>
                  </a:lnTo>
                  <a:lnTo>
                    <a:pt x="6214" y="14248"/>
                  </a:lnTo>
                  <a:lnTo>
                    <a:pt x="6284" y="14430"/>
                  </a:lnTo>
                  <a:lnTo>
                    <a:pt x="6364" y="14595"/>
                  </a:lnTo>
                  <a:lnTo>
                    <a:pt x="6436" y="14724"/>
                  </a:lnTo>
                  <a:lnTo>
                    <a:pt x="6560" y="14862"/>
                  </a:lnTo>
                  <a:lnTo>
                    <a:pt x="6578" y="15043"/>
                  </a:lnTo>
                  <a:lnTo>
                    <a:pt x="6534" y="15102"/>
                  </a:lnTo>
                  <a:lnTo>
                    <a:pt x="6506" y="15225"/>
                  </a:lnTo>
                  <a:lnTo>
                    <a:pt x="6626" y="15313"/>
                  </a:lnTo>
                  <a:lnTo>
                    <a:pt x="6758" y="15490"/>
                  </a:lnTo>
                  <a:lnTo>
                    <a:pt x="6832" y="15660"/>
                  </a:lnTo>
                  <a:lnTo>
                    <a:pt x="6946" y="15755"/>
                  </a:lnTo>
                  <a:lnTo>
                    <a:pt x="7001" y="15932"/>
                  </a:lnTo>
                  <a:lnTo>
                    <a:pt x="7069" y="16078"/>
                  </a:lnTo>
                  <a:lnTo>
                    <a:pt x="7141" y="16216"/>
                  </a:lnTo>
                  <a:lnTo>
                    <a:pt x="7193" y="16447"/>
                  </a:lnTo>
                  <a:lnTo>
                    <a:pt x="7230" y="16668"/>
                  </a:lnTo>
                  <a:lnTo>
                    <a:pt x="7224" y="16870"/>
                  </a:lnTo>
                  <a:lnTo>
                    <a:pt x="7174" y="17029"/>
                  </a:lnTo>
                  <a:lnTo>
                    <a:pt x="7125" y="17173"/>
                  </a:lnTo>
                  <a:lnTo>
                    <a:pt x="7142" y="17291"/>
                  </a:lnTo>
                  <a:lnTo>
                    <a:pt x="7204" y="17363"/>
                  </a:lnTo>
                  <a:lnTo>
                    <a:pt x="7292" y="17443"/>
                  </a:lnTo>
                  <a:lnTo>
                    <a:pt x="7417" y="17611"/>
                  </a:lnTo>
                  <a:lnTo>
                    <a:pt x="7500" y="17756"/>
                  </a:lnTo>
                  <a:lnTo>
                    <a:pt x="7591" y="17820"/>
                  </a:lnTo>
                  <a:lnTo>
                    <a:pt x="7800" y="17893"/>
                  </a:lnTo>
                  <a:lnTo>
                    <a:pt x="7925" y="18009"/>
                  </a:lnTo>
                  <a:lnTo>
                    <a:pt x="8090" y="18111"/>
                  </a:lnTo>
                  <a:lnTo>
                    <a:pt x="8241" y="18220"/>
                  </a:lnTo>
                  <a:lnTo>
                    <a:pt x="8372" y="18315"/>
                  </a:lnTo>
                  <a:lnTo>
                    <a:pt x="8507" y="18400"/>
                  </a:lnTo>
                  <a:lnTo>
                    <a:pt x="8706" y="18516"/>
                  </a:lnTo>
                  <a:lnTo>
                    <a:pt x="8842" y="18596"/>
                  </a:lnTo>
                  <a:lnTo>
                    <a:pt x="8943" y="18660"/>
                  </a:lnTo>
                  <a:lnTo>
                    <a:pt x="9047" y="18713"/>
                  </a:lnTo>
                  <a:lnTo>
                    <a:pt x="9142" y="18769"/>
                  </a:lnTo>
                  <a:lnTo>
                    <a:pt x="9212" y="18725"/>
                  </a:lnTo>
                  <a:lnTo>
                    <a:pt x="9284" y="18698"/>
                  </a:lnTo>
                  <a:lnTo>
                    <a:pt x="9443" y="18618"/>
                  </a:lnTo>
                  <a:lnTo>
                    <a:pt x="9551" y="18567"/>
                  </a:lnTo>
                  <a:lnTo>
                    <a:pt x="9694" y="18567"/>
                  </a:lnTo>
                  <a:lnTo>
                    <a:pt x="9830" y="18670"/>
                  </a:lnTo>
                  <a:lnTo>
                    <a:pt x="10001" y="18799"/>
                  </a:lnTo>
                  <a:lnTo>
                    <a:pt x="10103" y="18897"/>
                  </a:lnTo>
                  <a:lnTo>
                    <a:pt x="10183" y="19065"/>
                  </a:lnTo>
                  <a:lnTo>
                    <a:pt x="10280" y="19194"/>
                  </a:lnTo>
                  <a:lnTo>
                    <a:pt x="10399" y="19279"/>
                  </a:lnTo>
                  <a:lnTo>
                    <a:pt x="10524" y="19345"/>
                  </a:lnTo>
                  <a:lnTo>
                    <a:pt x="10621" y="19420"/>
                  </a:lnTo>
                  <a:lnTo>
                    <a:pt x="10755" y="19493"/>
                  </a:lnTo>
                  <a:lnTo>
                    <a:pt x="10877" y="19578"/>
                  </a:lnTo>
                  <a:lnTo>
                    <a:pt x="11002" y="19607"/>
                  </a:lnTo>
                  <a:lnTo>
                    <a:pt x="11156" y="19612"/>
                  </a:lnTo>
                  <a:lnTo>
                    <a:pt x="11241" y="19532"/>
                  </a:lnTo>
                  <a:lnTo>
                    <a:pt x="11335" y="19547"/>
                  </a:lnTo>
                  <a:lnTo>
                    <a:pt x="11364" y="19707"/>
                  </a:lnTo>
                  <a:lnTo>
                    <a:pt x="11392" y="19855"/>
                  </a:lnTo>
                  <a:lnTo>
                    <a:pt x="11426" y="19991"/>
                  </a:lnTo>
                  <a:lnTo>
                    <a:pt x="11500" y="20114"/>
                  </a:lnTo>
                  <a:lnTo>
                    <a:pt x="11589" y="20243"/>
                  </a:lnTo>
                  <a:lnTo>
                    <a:pt x="11653" y="20382"/>
                  </a:lnTo>
                  <a:lnTo>
                    <a:pt x="11664" y="20506"/>
                  </a:lnTo>
                  <a:lnTo>
                    <a:pt x="11682" y="20676"/>
                  </a:lnTo>
                  <a:lnTo>
                    <a:pt x="11772" y="20819"/>
                  </a:lnTo>
                  <a:lnTo>
                    <a:pt x="11902" y="20848"/>
                  </a:lnTo>
                  <a:lnTo>
                    <a:pt x="12025" y="20953"/>
                  </a:lnTo>
                  <a:lnTo>
                    <a:pt x="12094" y="21084"/>
                  </a:lnTo>
                  <a:lnTo>
                    <a:pt x="12179" y="21177"/>
                  </a:lnTo>
                  <a:lnTo>
                    <a:pt x="12295" y="21296"/>
                  </a:lnTo>
                  <a:lnTo>
                    <a:pt x="12435" y="21310"/>
                  </a:lnTo>
                  <a:lnTo>
                    <a:pt x="12549" y="21391"/>
                  </a:lnTo>
                  <a:lnTo>
                    <a:pt x="12667" y="21461"/>
                  </a:lnTo>
                  <a:lnTo>
                    <a:pt x="12729" y="21510"/>
                  </a:lnTo>
                  <a:lnTo>
                    <a:pt x="12864" y="21571"/>
                  </a:lnTo>
                  <a:lnTo>
                    <a:pt x="12989" y="21600"/>
                  </a:lnTo>
                  <a:lnTo>
                    <a:pt x="13033" y="21529"/>
                  </a:lnTo>
                  <a:lnTo>
                    <a:pt x="12995" y="21406"/>
                  </a:lnTo>
                  <a:lnTo>
                    <a:pt x="13103" y="21304"/>
                  </a:lnTo>
                  <a:lnTo>
                    <a:pt x="13183" y="21223"/>
                  </a:lnTo>
                  <a:lnTo>
                    <a:pt x="13268" y="21158"/>
                  </a:lnTo>
                  <a:lnTo>
                    <a:pt x="13213" y="21056"/>
                  </a:lnTo>
                  <a:lnTo>
                    <a:pt x="13081" y="21093"/>
                  </a:lnTo>
                  <a:lnTo>
                    <a:pt x="12971" y="21149"/>
                  </a:lnTo>
                  <a:lnTo>
                    <a:pt x="12887" y="21241"/>
                  </a:lnTo>
                  <a:lnTo>
                    <a:pt x="12803" y="21285"/>
                  </a:lnTo>
                  <a:lnTo>
                    <a:pt x="12762" y="21202"/>
                  </a:lnTo>
                  <a:lnTo>
                    <a:pt x="12656" y="21154"/>
                  </a:lnTo>
                  <a:lnTo>
                    <a:pt x="12537" y="21095"/>
                  </a:lnTo>
                  <a:lnTo>
                    <a:pt x="12412" y="20986"/>
                  </a:lnTo>
                  <a:lnTo>
                    <a:pt x="12350" y="20797"/>
                  </a:lnTo>
                  <a:lnTo>
                    <a:pt x="12262" y="20656"/>
                  </a:lnTo>
                  <a:lnTo>
                    <a:pt x="12209" y="20570"/>
                  </a:lnTo>
                  <a:lnTo>
                    <a:pt x="12187" y="20410"/>
                  </a:lnTo>
                  <a:lnTo>
                    <a:pt x="12198" y="20249"/>
                  </a:lnTo>
                  <a:lnTo>
                    <a:pt x="12225" y="20028"/>
                  </a:lnTo>
                  <a:lnTo>
                    <a:pt x="12236" y="19853"/>
                  </a:lnTo>
                  <a:lnTo>
                    <a:pt x="12264" y="19692"/>
                  </a:lnTo>
                  <a:lnTo>
                    <a:pt x="12287" y="19534"/>
                  </a:lnTo>
                  <a:lnTo>
                    <a:pt x="12302" y="19376"/>
                  </a:lnTo>
                  <a:lnTo>
                    <a:pt x="12330" y="19230"/>
                  </a:lnTo>
                  <a:lnTo>
                    <a:pt x="12364" y="19073"/>
                  </a:lnTo>
                  <a:lnTo>
                    <a:pt x="12324" y="18924"/>
                  </a:lnTo>
                  <a:lnTo>
                    <a:pt x="12279" y="18783"/>
                  </a:lnTo>
                  <a:lnTo>
                    <a:pt x="12107" y="18728"/>
                  </a:lnTo>
                  <a:lnTo>
                    <a:pt x="11924" y="18714"/>
                  </a:lnTo>
                  <a:lnTo>
                    <a:pt x="11751" y="18714"/>
                  </a:lnTo>
                  <a:lnTo>
                    <a:pt x="11628" y="18765"/>
                  </a:lnTo>
                  <a:lnTo>
                    <a:pt x="11406" y="18816"/>
                  </a:lnTo>
                  <a:lnTo>
                    <a:pt x="11165" y="18816"/>
                  </a:lnTo>
                  <a:lnTo>
                    <a:pt x="11133" y="18658"/>
                  </a:lnTo>
                  <a:lnTo>
                    <a:pt x="11154" y="18467"/>
                  </a:lnTo>
                  <a:lnTo>
                    <a:pt x="11237" y="18145"/>
                  </a:lnTo>
                  <a:lnTo>
                    <a:pt x="11347" y="17912"/>
                  </a:lnTo>
                  <a:lnTo>
                    <a:pt x="11460" y="17663"/>
                  </a:lnTo>
                  <a:lnTo>
                    <a:pt x="11505" y="17483"/>
                  </a:lnTo>
                  <a:lnTo>
                    <a:pt x="11604" y="17196"/>
                  </a:lnTo>
                  <a:lnTo>
                    <a:pt x="11683" y="17024"/>
                  </a:lnTo>
                  <a:lnTo>
                    <a:pt x="11689" y="16887"/>
                  </a:lnTo>
                  <a:lnTo>
                    <a:pt x="11632" y="16817"/>
                  </a:lnTo>
                  <a:lnTo>
                    <a:pt x="11551" y="16802"/>
                  </a:lnTo>
                  <a:lnTo>
                    <a:pt x="11477" y="16780"/>
                  </a:lnTo>
                  <a:lnTo>
                    <a:pt x="11365" y="16780"/>
                  </a:lnTo>
                  <a:lnTo>
                    <a:pt x="11234" y="16802"/>
                  </a:lnTo>
                  <a:lnTo>
                    <a:pt x="11104" y="16839"/>
                  </a:lnTo>
                  <a:lnTo>
                    <a:pt x="11028" y="16887"/>
                  </a:lnTo>
                  <a:lnTo>
                    <a:pt x="10924" y="16956"/>
                  </a:lnTo>
                  <a:lnTo>
                    <a:pt x="10890" y="17029"/>
                  </a:lnTo>
                  <a:lnTo>
                    <a:pt x="10884" y="17157"/>
                  </a:lnTo>
                  <a:lnTo>
                    <a:pt x="10833" y="17347"/>
                  </a:lnTo>
                  <a:lnTo>
                    <a:pt x="10751" y="17509"/>
                  </a:lnTo>
                  <a:lnTo>
                    <a:pt x="10649" y="17596"/>
                  </a:lnTo>
                  <a:lnTo>
                    <a:pt x="10454" y="17759"/>
                  </a:lnTo>
                  <a:lnTo>
                    <a:pt x="10312" y="17818"/>
                  </a:lnTo>
                  <a:lnTo>
                    <a:pt x="10135" y="17898"/>
                  </a:lnTo>
                  <a:lnTo>
                    <a:pt x="9999" y="17898"/>
                  </a:lnTo>
                  <a:lnTo>
                    <a:pt x="9792" y="17879"/>
                  </a:lnTo>
                  <a:lnTo>
                    <a:pt x="9606" y="17831"/>
                  </a:lnTo>
                  <a:lnTo>
                    <a:pt x="9447" y="17654"/>
                  </a:lnTo>
                  <a:lnTo>
                    <a:pt x="9334" y="17487"/>
                  </a:lnTo>
                  <a:lnTo>
                    <a:pt x="9279" y="17285"/>
                  </a:lnTo>
                  <a:lnTo>
                    <a:pt x="9196" y="16914"/>
                  </a:lnTo>
                  <a:lnTo>
                    <a:pt x="9146" y="16624"/>
                  </a:lnTo>
                  <a:lnTo>
                    <a:pt x="9129" y="16345"/>
                  </a:lnTo>
                  <a:lnTo>
                    <a:pt x="9167" y="16032"/>
                  </a:lnTo>
                  <a:lnTo>
                    <a:pt x="9286" y="15655"/>
                  </a:lnTo>
                  <a:lnTo>
                    <a:pt x="9383" y="15401"/>
                  </a:lnTo>
                  <a:lnTo>
                    <a:pt x="9400" y="15183"/>
                  </a:lnTo>
                  <a:lnTo>
                    <a:pt x="9406" y="14977"/>
                  </a:lnTo>
                  <a:lnTo>
                    <a:pt x="9444" y="14790"/>
                  </a:lnTo>
                  <a:lnTo>
                    <a:pt x="9506" y="14595"/>
                  </a:lnTo>
                  <a:lnTo>
                    <a:pt x="9635" y="14457"/>
                  </a:lnTo>
                  <a:lnTo>
                    <a:pt x="9806" y="14284"/>
                  </a:lnTo>
                  <a:lnTo>
                    <a:pt x="10189" y="14050"/>
                  </a:lnTo>
                  <a:lnTo>
                    <a:pt x="10354" y="13911"/>
                  </a:lnTo>
                  <a:lnTo>
                    <a:pt x="10480" y="13836"/>
                  </a:lnTo>
                  <a:lnTo>
                    <a:pt x="10603" y="13720"/>
                  </a:lnTo>
                  <a:lnTo>
                    <a:pt x="10739" y="13684"/>
                  </a:lnTo>
                  <a:lnTo>
                    <a:pt x="10870" y="13684"/>
                  </a:lnTo>
                  <a:lnTo>
                    <a:pt x="10993" y="13742"/>
                  </a:lnTo>
                  <a:lnTo>
                    <a:pt x="11150" y="13886"/>
                  </a:lnTo>
                  <a:lnTo>
                    <a:pt x="11296" y="13993"/>
                  </a:lnTo>
                  <a:lnTo>
                    <a:pt x="11413" y="14043"/>
                  </a:lnTo>
                  <a:lnTo>
                    <a:pt x="11504" y="14043"/>
                  </a:lnTo>
                  <a:lnTo>
                    <a:pt x="11606" y="13970"/>
                  </a:lnTo>
                  <a:lnTo>
                    <a:pt x="11711" y="13735"/>
                  </a:lnTo>
                  <a:lnTo>
                    <a:pt x="11875" y="13611"/>
                  </a:lnTo>
                  <a:lnTo>
                    <a:pt x="12014" y="13548"/>
                  </a:lnTo>
                  <a:lnTo>
                    <a:pt x="12178" y="13504"/>
                  </a:lnTo>
                  <a:lnTo>
                    <a:pt x="12297" y="13548"/>
                  </a:lnTo>
                  <a:lnTo>
                    <a:pt x="12373" y="13646"/>
                  </a:lnTo>
                  <a:lnTo>
                    <a:pt x="12497" y="13704"/>
                  </a:lnTo>
                  <a:lnTo>
                    <a:pt x="12604" y="13781"/>
                  </a:lnTo>
                  <a:lnTo>
                    <a:pt x="12701" y="13812"/>
                  </a:lnTo>
                  <a:lnTo>
                    <a:pt x="12778" y="13740"/>
                  </a:lnTo>
                  <a:lnTo>
                    <a:pt x="12875" y="13710"/>
                  </a:lnTo>
                  <a:lnTo>
                    <a:pt x="12998" y="13746"/>
                  </a:lnTo>
                  <a:lnTo>
                    <a:pt x="13081" y="13890"/>
                  </a:lnTo>
                  <a:lnTo>
                    <a:pt x="13168" y="13996"/>
                  </a:lnTo>
                  <a:lnTo>
                    <a:pt x="13228" y="14124"/>
                  </a:lnTo>
                  <a:lnTo>
                    <a:pt x="13245" y="14260"/>
                  </a:lnTo>
                  <a:lnTo>
                    <a:pt x="13188" y="14382"/>
                  </a:lnTo>
                  <a:lnTo>
                    <a:pt x="13150" y="14515"/>
                  </a:lnTo>
                  <a:lnTo>
                    <a:pt x="13150" y="14661"/>
                  </a:lnTo>
                  <a:lnTo>
                    <a:pt x="13213" y="14744"/>
                  </a:lnTo>
                  <a:lnTo>
                    <a:pt x="13265" y="14853"/>
                  </a:lnTo>
                  <a:lnTo>
                    <a:pt x="13283" y="15108"/>
                  </a:lnTo>
                  <a:lnTo>
                    <a:pt x="13334" y="15290"/>
                  </a:lnTo>
                  <a:lnTo>
                    <a:pt x="13452" y="15424"/>
                  </a:lnTo>
                  <a:lnTo>
                    <a:pt x="13548" y="15365"/>
                  </a:lnTo>
                  <a:lnTo>
                    <a:pt x="13603" y="15222"/>
                  </a:lnTo>
                  <a:lnTo>
                    <a:pt x="13654" y="15037"/>
                  </a:lnTo>
                  <a:lnTo>
                    <a:pt x="13654" y="14814"/>
                  </a:lnTo>
                  <a:lnTo>
                    <a:pt x="13681" y="14602"/>
                  </a:lnTo>
                  <a:lnTo>
                    <a:pt x="13650" y="14293"/>
                  </a:lnTo>
                  <a:lnTo>
                    <a:pt x="13616" y="14170"/>
                  </a:lnTo>
                  <a:lnTo>
                    <a:pt x="13599" y="13973"/>
                  </a:lnTo>
                  <a:lnTo>
                    <a:pt x="13582" y="13688"/>
                  </a:lnTo>
                  <a:lnTo>
                    <a:pt x="13593" y="13506"/>
                  </a:lnTo>
                  <a:lnTo>
                    <a:pt x="13658" y="13353"/>
                  </a:lnTo>
                  <a:lnTo>
                    <a:pt x="13728" y="13200"/>
                  </a:lnTo>
                  <a:lnTo>
                    <a:pt x="13825" y="13091"/>
                  </a:lnTo>
                  <a:lnTo>
                    <a:pt x="13927" y="12967"/>
                  </a:lnTo>
                  <a:lnTo>
                    <a:pt x="14218" y="12701"/>
                  </a:lnTo>
                  <a:lnTo>
                    <a:pt x="14326" y="12563"/>
                  </a:lnTo>
                  <a:lnTo>
                    <a:pt x="14453" y="12468"/>
                  </a:lnTo>
                  <a:lnTo>
                    <a:pt x="14577" y="12404"/>
                  </a:lnTo>
                  <a:lnTo>
                    <a:pt x="14723" y="12341"/>
                  </a:lnTo>
                  <a:lnTo>
                    <a:pt x="14852" y="12246"/>
                  </a:lnTo>
                  <a:lnTo>
                    <a:pt x="14935" y="12127"/>
                  </a:lnTo>
                  <a:lnTo>
                    <a:pt x="15055" y="12032"/>
                  </a:lnTo>
                  <a:lnTo>
                    <a:pt x="15152" y="11945"/>
                  </a:lnTo>
                  <a:lnTo>
                    <a:pt x="15263" y="11753"/>
                  </a:lnTo>
                  <a:lnTo>
                    <a:pt x="15280" y="11595"/>
                  </a:lnTo>
                  <a:lnTo>
                    <a:pt x="15303" y="11434"/>
                  </a:lnTo>
                  <a:lnTo>
                    <a:pt x="15281" y="11276"/>
                  </a:lnTo>
                  <a:lnTo>
                    <a:pt x="15281" y="11116"/>
                  </a:lnTo>
                  <a:lnTo>
                    <a:pt x="15303" y="10934"/>
                  </a:lnTo>
                  <a:lnTo>
                    <a:pt x="15389" y="10761"/>
                  </a:lnTo>
                  <a:lnTo>
                    <a:pt x="15482" y="10761"/>
                  </a:lnTo>
                  <a:lnTo>
                    <a:pt x="15499" y="10880"/>
                  </a:lnTo>
                  <a:lnTo>
                    <a:pt x="15546" y="11021"/>
                  </a:lnTo>
                  <a:lnTo>
                    <a:pt x="15614" y="10967"/>
                  </a:lnTo>
                  <a:lnTo>
                    <a:pt x="15535" y="10727"/>
                  </a:lnTo>
                  <a:lnTo>
                    <a:pt x="15650" y="10569"/>
                  </a:lnTo>
                  <a:lnTo>
                    <a:pt x="15762" y="10432"/>
                  </a:lnTo>
                  <a:lnTo>
                    <a:pt x="16024" y="10381"/>
                  </a:lnTo>
                  <a:lnTo>
                    <a:pt x="16117" y="10289"/>
                  </a:lnTo>
                  <a:lnTo>
                    <a:pt x="16183" y="10120"/>
                  </a:lnTo>
                  <a:lnTo>
                    <a:pt x="16253" y="10035"/>
                  </a:lnTo>
                  <a:lnTo>
                    <a:pt x="16440" y="9841"/>
                  </a:lnTo>
                  <a:lnTo>
                    <a:pt x="16600" y="9797"/>
                  </a:lnTo>
                  <a:lnTo>
                    <a:pt x="16827" y="9761"/>
                  </a:lnTo>
                  <a:lnTo>
                    <a:pt x="16975" y="9680"/>
                  </a:lnTo>
                  <a:lnTo>
                    <a:pt x="17100" y="9613"/>
                  </a:lnTo>
                  <a:lnTo>
                    <a:pt x="17191" y="9547"/>
                  </a:lnTo>
                  <a:lnTo>
                    <a:pt x="17242" y="9250"/>
                  </a:lnTo>
                  <a:lnTo>
                    <a:pt x="17356" y="9134"/>
                  </a:lnTo>
                  <a:lnTo>
                    <a:pt x="17482" y="9045"/>
                  </a:lnTo>
                  <a:lnTo>
                    <a:pt x="17579" y="8965"/>
                  </a:lnTo>
                  <a:lnTo>
                    <a:pt x="17788" y="8827"/>
                  </a:lnTo>
                  <a:lnTo>
                    <a:pt x="17966" y="8684"/>
                  </a:lnTo>
                  <a:lnTo>
                    <a:pt x="18192" y="8613"/>
                  </a:lnTo>
                  <a:lnTo>
                    <a:pt x="18339" y="8516"/>
                  </a:lnTo>
                  <a:lnTo>
                    <a:pt x="18489" y="8428"/>
                  </a:lnTo>
                  <a:lnTo>
                    <a:pt x="18633" y="8365"/>
                  </a:lnTo>
                  <a:lnTo>
                    <a:pt x="18762" y="8309"/>
                  </a:lnTo>
                  <a:lnTo>
                    <a:pt x="18913" y="8309"/>
                  </a:lnTo>
                  <a:lnTo>
                    <a:pt x="19010" y="8350"/>
                  </a:lnTo>
                  <a:lnTo>
                    <a:pt x="19016" y="8472"/>
                  </a:lnTo>
                  <a:lnTo>
                    <a:pt x="18873" y="8513"/>
                  </a:lnTo>
                  <a:lnTo>
                    <a:pt x="18706" y="8635"/>
                  </a:lnTo>
                  <a:lnTo>
                    <a:pt x="18595" y="8691"/>
                  </a:lnTo>
                  <a:lnTo>
                    <a:pt x="18495" y="8751"/>
                  </a:lnTo>
                  <a:lnTo>
                    <a:pt x="18450" y="8839"/>
                  </a:lnTo>
                  <a:lnTo>
                    <a:pt x="18511" y="8931"/>
                  </a:lnTo>
                  <a:lnTo>
                    <a:pt x="18611" y="8931"/>
                  </a:lnTo>
                  <a:lnTo>
                    <a:pt x="18791" y="8827"/>
                  </a:lnTo>
                  <a:lnTo>
                    <a:pt x="18930" y="8727"/>
                  </a:lnTo>
                  <a:lnTo>
                    <a:pt x="19074" y="8650"/>
                  </a:lnTo>
                  <a:lnTo>
                    <a:pt x="19244" y="8635"/>
                  </a:lnTo>
                  <a:cubicBezTo>
                    <a:pt x="19290" y="8619"/>
                    <a:pt x="19335" y="8600"/>
                    <a:pt x="19379" y="8579"/>
                  </a:cubicBezTo>
                  <a:cubicBezTo>
                    <a:pt x="19434" y="8553"/>
                    <a:pt x="19488" y="8523"/>
                    <a:pt x="19541" y="8489"/>
                  </a:cubicBezTo>
                  <a:lnTo>
                    <a:pt x="19653" y="8409"/>
                  </a:lnTo>
                  <a:lnTo>
                    <a:pt x="19869" y="8294"/>
                  </a:lnTo>
                  <a:lnTo>
                    <a:pt x="19833" y="8195"/>
                  </a:lnTo>
                  <a:lnTo>
                    <a:pt x="19698" y="8202"/>
                  </a:lnTo>
                  <a:lnTo>
                    <a:pt x="19554" y="8292"/>
                  </a:lnTo>
                  <a:lnTo>
                    <a:pt x="19488" y="8314"/>
                  </a:lnTo>
                  <a:lnTo>
                    <a:pt x="19341" y="8314"/>
                  </a:lnTo>
                  <a:lnTo>
                    <a:pt x="19174" y="8207"/>
                  </a:lnTo>
                  <a:lnTo>
                    <a:pt x="18993" y="8112"/>
                  </a:lnTo>
                  <a:lnTo>
                    <a:pt x="18933" y="7978"/>
                  </a:lnTo>
                  <a:lnTo>
                    <a:pt x="18938" y="7840"/>
                  </a:lnTo>
                  <a:lnTo>
                    <a:pt x="18944" y="7690"/>
                  </a:lnTo>
                  <a:lnTo>
                    <a:pt x="19006" y="7610"/>
                  </a:lnTo>
                  <a:lnTo>
                    <a:pt x="19140" y="7428"/>
                  </a:lnTo>
                  <a:lnTo>
                    <a:pt x="19187" y="7345"/>
                  </a:lnTo>
                  <a:lnTo>
                    <a:pt x="19237" y="7180"/>
                  </a:lnTo>
                  <a:lnTo>
                    <a:pt x="19106" y="7144"/>
                  </a:lnTo>
                  <a:lnTo>
                    <a:pt x="18892" y="7163"/>
                  </a:lnTo>
                  <a:lnTo>
                    <a:pt x="18659" y="7228"/>
                  </a:lnTo>
                  <a:lnTo>
                    <a:pt x="18407" y="7344"/>
                  </a:lnTo>
                  <a:lnTo>
                    <a:pt x="18286" y="7459"/>
                  </a:lnTo>
                  <a:lnTo>
                    <a:pt x="18115" y="7495"/>
                  </a:lnTo>
                  <a:lnTo>
                    <a:pt x="18053" y="7522"/>
                  </a:lnTo>
                  <a:lnTo>
                    <a:pt x="17997" y="7406"/>
                  </a:lnTo>
                  <a:lnTo>
                    <a:pt x="18048" y="7304"/>
                  </a:lnTo>
                  <a:lnTo>
                    <a:pt x="18150" y="7238"/>
                  </a:lnTo>
                  <a:lnTo>
                    <a:pt x="18577" y="7007"/>
                  </a:lnTo>
                  <a:lnTo>
                    <a:pt x="18765" y="6862"/>
                  </a:lnTo>
                  <a:cubicBezTo>
                    <a:pt x="18809" y="6831"/>
                    <a:pt x="18854" y="6805"/>
                    <a:pt x="18901" y="6781"/>
                  </a:cubicBezTo>
                  <a:cubicBezTo>
                    <a:pt x="18965" y="6749"/>
                    <a:pt x="19031" y="6724"/>
                    <a:pt x="19098" y="6706"/>
                  </a:cubicBezTo>
                  <a:lnTo>
                    <a:pt x="19233" y="6665"/>
                  </a:lnTo>
                  <a:lnTo>
                    <a:pt x="19413" y="6636"/>
                  </a:lnTo>
                  <a:lnTo>
                    <a:pt x="19652" y="6658"/>
                  </a:lnTo>
                  <a:lnTo>
                    <a:pt x="19921" y="6687"/>
                  </a:lnTo>
                  <a:lnTo>
                    <a:pt x="20075" y="6660"/>
                  </a:lnTo>
                  <a:lnTo>
                    <a:pt x="20242" y="6618"/>
                  </a:lnTo>
                  <a:lnTo>
                    <a:pt x="20490" y="6615"/>
                  </a:lnTo>
                  <a:lnTo>
                    <a:pt x="20803" y="6477"/>
                  </a:lnTo>
                  <a:lnTo>
                    <a:pt x="20930" y="6409"/>
                  </a:lnTo>
                  <a:cubicBezTo>
                    <a:pt x="20988" y="6390"/>
                    <a:pt x="21045" y="6366"/>
                    <a:pt x="21099" y="6336"/>
                  </a:cubicBezTo>
                  <a:cubicBezTo>
                    <a:pt x="21140" y="6313"/>
                    <a:pt x="21179" y="6288"/>
                    <a:pt x="21217" y="6260"/>
                  </a:cubicBezTo>
                  <a:lnTo>
                    <a:pt x="21276" y="6209"/>
                  </a:lnTo>
                  <a:lnTo>
                    <a:pt x="21373" y="6131"/>
                  </a:lnTo>
                  <a:cubicBezTo>
                    <a:pt x="21397" y="6115"/>
                    <a:pt x="21420" y="6096"/>
                    <a:pt x="21441" y="6073"/>
                  </a:cubicBezTo>
                  <a:cubicBezTo>
                    <a:pt x="21471" y="6042"/>
                    <a:pt x="21497" y="6005"/>
                    <a:pt x="21518" y="5964"/>
                  </a:cubicBezTo>
                  <a:lnTo>
                    <a:pt x="21583" y="5842"/>
                  </a:lnTo>
                  <a:lnTo>
                    <a:pt x="21600" y="5716"/>
                  </a:lnTo>
                  <a:lnTo>
                    <a:pt x="21594" y="5645"/>
                  </a:lnTo>
                  <a:lnTo>
                    <a:pt x="21471" y="5526"/>
                  </a:lnTo>
                  <a:lnTo>
                    <a:pt x="21403" y="5467"/>
                  </a:lnTo>
                  <a:lnTo>
                    <a:pt x="21327" y="5446"/>
                  </a:lnTo>
                  <a:lnTo>
                    <a:pt x="21196" y="5446"/>
                  </a:lnTo>
                  <a:lnTo>
                    <a:pt x="21091" y="5453"/>
                  </a:lnTo>
                  <a:lnTo>
                    <a:pt x="20995" y="5547"/>
                  </a:lnTo>
                  <a:lnTo>
                    <a:pt x="20900" y="5567"/>
                  </a:lnTo>
                  <a:lnTo>
                    <a:pt x="20828" y="5523"/>
                  </a:lnTo>
                  <a:lnTo>
                    <a:pt x="20828" y="5416"/>
                  </a:lnTo>
                  <a:cubicBezTo>
                    <a:pt x="20860" y="5376"/>
                    <a:pt x="20896" y="5339"/>
                    <a:pt x="20934" y="5307"/>
                  </a:cubicBezTo>
                  <a:cubicBezTo>
                    <a:pt x="20959" y="5286"/>
                    <a:pt x="20985" y="5266"/>
                    <a:pt x="21011" y="5249"/>
                  </a:cubicBezTo>
                  <a:lnTo>
                    <a:pt x="20920" y="5120"/>
                  </a:lnTo>
                  <a:lnTo>
                    <a:pt x="20871" y="4942"/>
                  </a:lnTo>
                  <a:lnTo>
                    <a:pt x="20814" y="4814"/>
                  </a:lnTo>
                  <a:lnTo>
                    <a:pt x="20734" y="4712"/>
                  </a:lnTo>
                  <a:lnTo>
                    <a:pt x="20746" y="4563"/>
                  </a:lnTo>
                  <a:lnTo>
                    <a:pt x="20846" y="4476"/>
                  </a:lnTo>
                  <a:lnTo>
                    <a:pt x="20856" y="4345"/>
                  </a:lnTo>
                  <a:lnTo>
                    <a:pt x="20833" y="4183"/>
                  </a:lnTo>
                  <a:lnTo>
                    <a:pt x="20762" y="4113"/>
                  </a:lnTo>
                  <a:lnTo>
                    <a:pt x="20722" y="4001"/>
                  </a:lnTo>
                  <a:cubicBezTo>
                    <a:pt x="20752" y="3980"/>
                    <a:pt x="20776" y="3947"/>
                    <a:pt x="20790" y="3907"/>
                  </a:cubicBezTo>
                  <a:cubicBezTo>
                    <a:pt x="20808" y="3857"/>
                    <a:pt x="20810" y="3800"/>
                    <a:pt x="20796" y="3749"/>
                  </a:cubicBezTo>
                  <a:lnTo>
                    <a:pt x="20745" y="3647"/>
                  </a:lnTo>
                  <a:lnTo>
                    <a:pt x="20720" y="3537"/>
                  </a:lnTo>
                  <a:lnTo>
                    <a:pt x="20625" y="3493"/>
                  </a:lnTo>
                  <a:lnTo>
                    <a:pt x="20528" y="3632"/>
                  </a:lnTo>
                  <a:lnTo>
                    <a:pt x="20392" y="3756"/>
                  </a:lnTo>
                  <a:lnTo>
                    <a:pt x="20250" y="3892"/>
                  </a:lnTo>
                  <a:lnTo>
                    <a:pt x="20115" y="4018"/>
                  </a:lnTo>
                  <a:lnTo>
                    <a:pt x="19946" y="4098"/>
                  </a:lnTo>
                  <a:lnTo>
                    <a:pt x="19822" y="4091"/>
                  </a:lnTo>
                  <a:lnTo>
                    <a:pt x="19744" y="4074"/>
                  </a:lnTo>
                  <a:lnTo>
                    <a:pt x="19649" y="3952"/>
                  </a:lnTo>
                  <a:lnTo>
                    <a:pt x="19564" y="3858"/>
                  </a:lnTo>
                  <a:lnTo>
                    <a:pt x="19617" y="3705"/>
                  </a:lnTo>
                  <a:lnTo>
                    <a:pt x="19691" y="3562"/>
                  </a:lnTo>
                  <a:lnTo>
                    <a:pt x="19670" y="3362"/>
                  </a:lnTo>
                  <a:lnTo>
                    <a:pt x="19615" y="3265"/>
                  </a:lnTo>
                  <a:lnTo>
                    <a:pt x="19484" y="3118"/>
                  </a:lnTo>
                  <a:lnTo>
                    <a:pt x="19382" y="3053"/>
                  </a:lnTo>
                  <a:lnTo>
                    <a:pt x="19268" y="2958"/>
                  </a:lnTo>
                  <a:lnTo>
                    <a:pt x="19145" y="2912"/>
                  </a:lnTo>
                  <a:lnTo>
                    <a:pt x="19014" y="2919"/>
                  </a:lnTo>
                  <a:lnTo>
                    <a:pt x="18924" y="2834"/>
                  </a:lnTo>
                  <a:lnTo>
                    <a:pt x="18793" y="2819"/>
                  </a:lnTo>
                  <a:lnTo>
                    <a:pt x="18658" y="2819"/>
                  </a:lnTo>
                  <a:lnTo>
                    <a:pt x="18524" y="2863"/>
                  </a:lnTo>
                  <a:lnTo>
                    <a:pt x="18416" y="2934"/>
                  </a:lnTo>
                  <a:lnTo>
                    <a:pt x="18334" y="2997"/>
                  </a:lnTo>
                  <a:lnTo>
                    <a:pt x="18277" y="3133"/>
                  </a:lnTo>
                  <a:lnTo>
                    <a:pt x="18228" y="3344"/>
                  </a:lnTo>
                  <a:lnTo>
                    <a:pt x="18114" y="3556"/>
                  </a:lnTo>
                  <a:lnTo>
                    <a:pt x="18057" y="3665"/>
                  </a:lnTo>
                  <a:lnTo>
                    <a:pt x="17966" y="3765"/>
                  </a:lnTo>
                  <a:lnTo>
                    <a:pt x="17864" y="3806"/>
                  </a:lnTo>
                  <a:lnTo>
                    <a:pt x="17813" y="3908"/>
                  </a:lnTo>
                  <a:lnTo>
                    <a:pt x="17790" y="3988"/>
                  </a:lnTo>
                  <a:lnTo>
                    <a:pt x="17790" y="4105"/>
                  </a:lnTo>
                  <a:lnTo>
                    <a:pt x="17807" y="4220"/>
                  </a:lnTo>
                  <a:lnTo>
                    <a:pt x="17813" y="4330"/>
                  </a:lnTo>
                  <a:lnTo>
                    <a:pt x="17807" y="4419"/>
                  </a:lnTo>
                  <a:lnTo>
                    <a:pt x="17727" y="4570"/>
                  </a:lnTo>
                  <a:lnTo>
                    <a:pt x="17608" y="4723"/>
                  </a:lnTo>
                  <a:lnTo>
                    <a:pt x="17570" y="4807"/>
                  </a:lnTo>
                  <a:lnTo>
                    <a:pt x="17479" y="4941"/>
                  </a:lnTo>
                  <a:lnTo>
                    <a:pt x="17394" y="5028"/>
                  </a:lnTo>
                  <a:lnTo>
                    <a:pt x="17345" y="5072"/>
                  </a:lnTo>
                  <a:lnTo>
                    <a:pt x="17172" y="5175"/>
                  </a:lnTo>
                  <a:lnTo>
                    <a:pt x="17093" y="5197"/>
                  </a:lnTo>
                  <a:lnTo>
                    <a:pt x="16951" y="5269"/>
                  </a:lnTo>
                  <a:lnTo>
                    <a:pt x="16873" y="5378"/>
                  </a:lnTo>
                  <a:lnTo>
                    <a:pt x="16811" y="5487"/>
                  </a:lnTo>
                  <a:lnTo>
                    <a:pt x="16771" y="5592"/>
                  </a:lnTo>
                  <a:lnTo>
                    <a:pt x="16743" y="5750"/>
                  </a:lnTo>
                  <a:lnTo>
                    <a:pt x="16726" y="5871"/>
                  </a:lnTo>
                  <a:lnTo>
                    <a:pt x="16709" y="5944"/>
                  </a:lnTo>
                  <a:lnTo>
                    <a:pt x="16652" y="6076"/>
                  </a:lnTo>
                  <a:lnTo>
                    <a:pt x="16601" y="6191"/>
                  </a:lnTo>
                  <a:lnTo>
                    <a:pt x="16482" y="6279"/>
                  </a:lnTo>
                  <a:lnTo>
                    <a:pt x="16345" y="6351"/>
                  </a:lnTo>
                  <a:lnTo>
                    <a:pt x="16220" y="6410"/>
                  </a:lnTo>
                  <a:lnTo>
                    <a:pt x="16108" y="6417"/>
                  </a:lnTo>
                  <a:lnTo>
                    <a:pt x="16026" y="6249"/>
                  </a:lnTo>
                  <a:lnTo>
                    <a:pt x="15965" y="6129"/>
                  </a:lnTo>
                  <a:lnTo>
                    <a:pt x="15948" y="6014"/>
                  </a:lnTo>
                  <a:lnTo>
                    <a:pt x="15982" y="5833"/>
                  </a:lnTo>
                  <a:lnTo>
                    <a:pt x="16056" y="5667"/>
                  </a:lnTo>
                  <a:lnTo>
                    <a:pt x="16079" y="5551"/>
                  </a:lnTo>
                  <a:lnTo>
                    <a:pt x="16130" y="5398"/>
                  </a:lnTo>
                  <a:lnTo>
                    <a:pt x="16168" y="5299"/>
                  </a:lnTo>
                  <a:lnTo>
                    <a:pt x="16158" y="5212"/>
                  </a:lnTo>
                  <a:lnTo>
                    <a:pt x="16120" y="5149"/>
                  </a:lnTo>
                  <a:lnTo>
                    <a:pt x="16044" y="5134"/>
                  </a:lnTo>
                  <a:lnTo>
                    <a:pt x="15842" y="5066"/>
                  </a:lnTo>
                  <a:lnTo>
                    <a:pt x="15649" y="5016"/>
                  </a:lnTo>
                  <a:lnTo>
                    <a:pt x="15519" y="4899"/>
                  </a:lnTo>
                  <a:lnTo>
                    <a:pt x="15428" y="4807"/>
                  </a:lnTo>
                  <a:lnTo>
                    <a:pt x="15295" y="4703"/>
                  </a:lnTo>
                  <a:lnTo>
                    <a:pt x="15101" y="4615"/>
                  </a:lnTo>
                  <a:lnTo>
                    <a:pt x="15030" y="4608"/>
                  </a:lnTo>
                  <a:lnTo>
                    <a:pt x="14853" y="4596"/>
                  </a:lnTo>
                  <a:lnTo>
                    <a:pt x="14711" y="4533"/>
                  </a:lnTo>
                  <a:lnTo>
                    <a:pt x="14656" y="4441"/>
                  </a:lnTo>
                  <a:lnTo>
                    <a:pt x="14613" y="4335"/>
                  </a:lnTo>
                  <a:lnTo>
                    <a:pt x="14581" y="4174"/>
                  </a:lnTo>
                  <a:lnTo>
                    <a:pt x="14534" y="4070"/>
                  </a:lnTo>
                  <a:lnTo>
                    <a:pt x="14451" y="4048"/>
                  </a:lnTo>
                  <a:lnTo>
                    <a:pt x="14384" y="3982"/>
                  </a:lnTo>
                  <a:lnTo>
                    <a:pt x="14380" y="3875"/>
                  </a:lnTo>
                  <a:lnTo>
                    <a:pt x="14437" y="3743"/>
                  </a:lnTo>
                  <a:lnTo>
                    <a:pt x="14496" y="3639"/>
                  </a:lnTo>
                  <a:lnTo>
                    <a:pt x="14589" y="3529"/>
                  </a:lnTo>
                  <a:lnTo>
                    <a:pt x="14644" y="3420"/>
                  </a:lnTo>
                  <a:lnTo>
                    <a:pt x="14712" y="3355"/>
                  </a:lnTo>
                  <a:lnTo>
                    <a:pt x="14846" y="3290"/>
                  </a:lnTo>
                  <a:lnTo>
                    <a:pt x="14960" y="3224"/>
                  </a:lnTo>
                  <a:lnTo>
                    <a:pt x="15117" y="3068"/>
                  </a:lnTo>
                  <a:lnTo>
                    <a:pt x="15265" y="2971"/>
                  </a:lnTo>
                  <a:lnTo>
                    <a:pt x="15367" y="2891"/>
                  </a:lnTo>
                  <a:lnTo>
                    <a:pt x="15479" y="2833"/>
                  </a:lnTo>
                  <a:lnTo>
                    <a:pt x="15627" y="2760"/>
                  </a:lnTo>
                  <a:lnTo>
                    <a:pt x="15801" y="2672"/>
                  </a:lnTo>
                  <a:lnTo>
                    <a:pt x="15902" y="2616"/>
                  </a:lnTo>
                  <a:lnTo>
                    <a:pt x="15953" y="2544"/>
                  </a:lnTo>
                  <a:lnTo>
                    <a:pt x="15902" y="2480"/>
                  </a:lnTo>
                  <a:lnTo>
                    <a:pt x="15942" y="2320"/>
                  </a:lnTo>
                  <a:lnTo>
                    <a:pt x="16029" y="2276"/>
                  </a:lnTo>
                  <a:lnTo>
                    <a:pt x="16111" y="2336"/>
                  </a:lnTo>
                  <a:lnTo>
                    <a:pt x="16338" y="2329"/>
                  </a:lnTo>
                  <a:lnTo>
                    <a:pt x="16515" y="2242"/>
                  </a:lnTo>
                  <a:lnTo>
                    <a:pt x="16662" y="2213"/>
                  </a:lnTo>
                  <a:lnTo>
                    <a:pt x="16803" y="2154"/>
                  </a:lnTo>
                  <a:lnTo>
                    <a:pt x="16958" y="2088"/>
                  </a:lnTo>
                  <a:lnTo>
                    <a:pt x="16928" y="1994"/>
                  </a:lnTo>
                  <a:lnTo>
                    <a:pt x="16828" y="1852"/>
                  </a:lnTo>
                  <a:lnTo>
                    <a:pt x="16746" y="1775"/>
                  </a:lnTo>
                  <a:lnTo>
                    <a:pt x="16786" y="1685"/>
                  </a:lnTo>
                  <a:lnTo>
                    <a:pt x="16894" y="1649"/>
                  </a:lnTo>
                  <a:lnTo>
                    <a:pt x="17022" y="1728"/>
                  </a:lnTo>
                  <a:cubicBezTo>
                    <a:pt x="17065" y="1745"/>
                    <a:pt x="17109" y="1754"/>
                    <a:pt x="17154" y="1754"/>
                  </a:cubicBezTo>
                  <a:cubicBezTo>
                    <a:pt x="17193" y="1754"/>
                    <a:pt x="17232" y="1748"/>
                    <a:pt x="17270" y="1735"/>
                  </a:cubicBezTo>
                  <a:lnTo>
                    <a:pt x="17369" y="1675"/>
                  </a:lnTo>
                  <a:lnTo>
                    <a:pt x="17463" y="1580"/>
                  </a:lnTo>
                  <a:lnTo>
                    <a:pt x="17617" y="1551"/>
                  </a:lnTo>
                  <a:lnTo>
                    <a:pt x="17797" y="1546"/>
                  </a:lnTo>
                  <a:lnTo>
                    <a:pt x="17945" y="1517"/>
                  </a:lnTo>
                  <a:cubicBezTo>
                    <a:pt x="18025" y="1530"/>
                    <a:pt x="18106" y="1530"/>
                    <a:pt x="18186" y="1517"/>
                  </a:cubicBezTo>
                  <a:cubicBezTo>
                    <a:pt x="18230" y="1510"/>
                    <a:pt x="18274" y="1499"/>
                    <a:pt x="18316" y="1480"/>
                  </a:cubicBezTo>
                  <a:cubicBezTo>
                    <a:pt x="18379" y="1453"/>
                    <a:pt x="18437" y="1411"/>
                    <a:pt x="18487" y="1357"/>
                  </a:cubicBezTo>
                  <a:lnTo>
                    <a:pt x="18576" y="1269"/>
                  </a:lnTo>
                  <a:lnTo>
                    <a:pt x="18679" y="1133"/>
                  </a:lnTo>
                  <a:lnTo>
                    <a:pt x="18740" y="1033"/>
                  </a:lnTo>
                  <a:lnTo>
                    <a:pt x="18827" y="887"/>
                  </a:lnTo>
                  <a:lnTo>
                    <a:pt x="18865" y="773"/>
                  </a:lnTo>
                  <a:lnTo>
                    <a:pt x="18842" y="683"/>
                  </a:lnTo>
                  <a:lnTo>
                    <a:pt x="18706" y="662"/>
                  </a:lnTo>
                  <a:lnTo>
                    <a:pt x="18611" y="642"/>
                  </a:lnTo>
                  <a:lnTo>
                    <a:pt x="18371" y="642"/>
                  </a:lnTo>
                  <a:lnTo>
                    <a:pt x="18303" y="678"/>
                  </a:lnTo>
                  <a:lnTo>
                    <a:pt x="18196" y="812"/>
                  </a:lnTo>
                  <a:lnTo>
                    <a:pt x="18035" y="1029"/>
                  </a:lnTo>
                  <a:lnTo>
                    <a:pt x="17939" y="1072"/>
                  </a:lnTo>
                  <a:lnTo>
                    <a:pt x="17774" y="1203"/>
                  </a:lnTo>
                  <a:lnTo>
                    <a:pt x="17708" y="1283"/>
                  </a:lnTo>
                  <a:lnTo>
                    <a:pt x="17630" y="1324"/>
                  </a:lnTo>
                  <a:lnTo>
                    <a:pt x="17575" y="1297"/>
                  </a:lnTo>
                  <a:lnTo>
                    <a:pt x="17456" y="1210"/>
                  </a:lnTo>
                  <a:lnTo>
                    <a:pt x="17478" y="1123"/>
                  </a:lnTo>
                  <a:lnTo>
                    <a:pt x="17579" y="987"/>
                  </a:lnTo>
                  <a:lnTo>
                    <a:pt x="17620" y="848"/>
                  </a:lnTo>
                  <a:lnTo>
                    <a:pt x="17580" y="746"/>
                  </a:lnTo>
                  <a:lnTo>
                    <a:pt x="17480" y="713"/>
                  </a:lnTo>
                  <a:lnTo>
                    <a:pt x="17389" y="669"/>
                  </a:lnTo>
                  <a:lnTo>
                    <a:pt x="17377" y="770"/>
                  </a:lnTo>
                  <a:lnTo>
                    <a:pt x="17275" y="843"/>
                  </a:lnTo>
                  <a:lnTo>
                    <a:pt x="17223" y="719"/>
                  </a:lnTo>
                  <a:lnTo>
                    <a:pt x="17188" y="550"/>
                  </a:lnTo>
                  <a:lnTo>
                    <a:pt x="17158" y="474"/>
                  </a:lnTo>
                  <a:lnTo>
                    <a:pt x="17158" y="393"/>
                  </a:lnTo>
                  <a:lnTo>
                    <a:pt x="17262" y="250"/>
                  </a:lnTo>
                  <a:lnTo>
                    <a:pt x="17279" y="137"/>
                  </a:lnTo>
                  <a:lnTo>
                    <a:pt x="17211" y="42"/>
                  </a:lnTo>
                  <a:lnTo>
                    <a:pt x="17121" y="0"/>
                  </a:lnTo>
                  <a:lnTo>
                    <a:pt x="16997" y="69"/>
                  </a:lnTo>
                  <a:lnTo>
                    <a:pt x="16878" y="193"/>
                  </a:lnTo>
                  <a:lnTo>
                    <a:pt x="16739" y="264"/>
                  </a:lnTo>
                  <a:lnTo>
                    <a:pt x="16601" y="308"/>
                  </a:lnTo>
                  <a:lnTo>
                    <a:pt x="16495" y="385"/>
                  </a:lnTo>
                  <a:lnTo>
                    <a:pt x="16478" y="478"/>
                  </a:lnTo>
                  <a:lnTo>
                    <a:pt x="16580" y="499"/>
                  </a:lnTo>
                  <a:lnTo>
                    <a:pt x="16696" y="652"/>
                  </a:lnTo>
                  <a:lnTo>
                    <a:pt x="16774" y="698"/>
                  </a:lnTo>
                  <a:lnTo>
                    <a:pt x="16711" y="834"/>
                  </a:lnTo>
                  <a:lnTo>
                    <a:pt x="16611" y="914"/>
                  </a:lnTo>
                  <a:lnTo>
                    <a:pt x="16484" y="970"/>
                  </a:lnTo>
                  <a:lnTo>
                    <a:pt x="16336" y="992"/>
                  </a:lnTo>
                  <a:lnTo>
                    <a:pt x="16211" y="1072"/>
                  </a:lnTo>
                  <a:lnTo>
                    <a:pt x="16065" y="1208"/>
                  </a:lnTo>
                  <a:lnTo>
                    <a:pt x="15938" y="1300"/>
                  </a:lnTo>
                  <a:lnTo>
                    <a:pt x="15900" y="1403"/>
                  </a:lnTo>
                  <a:lnTo>
                    <a:pt x="15840" y="1405"/>
                  </a:lnTo>
                  <a:lnTo>
                    <a:pt x="15806" y="1296"/>
                  </a:lnTo>
                  <a:lnTo>
                    <a:pt x="15726" y="1252"/>
                  </a:lnTo>
                  <a:lnTo>
                    <a:pt x="15631" y="1267"/>
                  </a:lnTo>
                  <a:lnTo>
                    <a:pt x="15605" y="1192"/>
                  </a:lnTo>
                  <a:cubicBezTo>
                    <a:pt x="15584" y="1165"/>
                    <a:pt x="15559" y="1144"/>
                    <a:pt x="15531" y="1131"/>
                  </a:cubicBezTo>
                  <a:cubicBezTo>
                    <a:pt x="15512" y="1122"/>
                    <a:pt x="15491" y="1117"/>
                    <a:pt x="15471" y="1117"/>
                  </a:cubicBezTo>
                  <a:lnTo>
                    <a:pt x="15344" y="1117"/>
                  </a:lnTo>
                  <a:lnTo>
                    <a:pt x="15199" y="1177"/>
                  </a:lnTo>
                  <a:lnTo>
                    <a:pt x="15108" y="1170"/>
                  </a:lnTo>
                  <a:lnTo>
                    <a:pt x="14956" y="1162"/>
                  </a:lnTo>
                  <a:lnTo>
                    <a:pt x="14865" y="1119"/>
                  </a:lnTo>
                  <a:cubicBezTo>
                    <a:pt x="14833" y="1105"/>
                    <a:pt x="14801" y="1091"/>
                    <a:pt x="14769" y="1075"/>
                  </a:cubicBezTo>
                  <a:cubicBezTo>
                    <a:pt x="14722" y="1053"/>
                    <a:pt x="14676" y="1028"/>
                    <a:pt x="14628" y="1010"/>
                  </a:cubicBezTo>
                  <a:cubicBezTo>
                    <a:pt x="14586" y="993"/>
                    <a:pt x="14542" y="981"/>
                    <a:pt x="14498" y="973"/>
                  </a:cubicBezTo>
                  <a:lnTo>
                    <a:pt x="14362" y="995"/>
                  </a:lnTo>
                  <a:lnTo>
                    <a:pt x="14227" y="1051"/>
                  </a:lnTo>
                  <a:lnTo>
                    <a:pt x="14126" y="1073"/>
                  </a:lnTo>
                  <a:lnTo>
                    <a:pt x="14007" y="1095"/>
                  </a:lnTo>
                  <a:lnTo>
                    <a:pt x="13915" y="1160"/>
                  </a:lnTo>
                  <a:lnTo>
                    <a:pt x="13864" y="1223"/>
                  </a:lnTo>
                  <a:lnTo>
                    <a:pt x="13791" y="1318"/>
                  </a:lnTo>
                  <a:cubicBezTo>
                    <a:pt x="13779" y="1341"/>
                    <a:pt x="13766" y="1364"/>
                    <a:pt x="13753" y="1386"/>
                  </a:cubicBezTo>
                  <a:cubicBezTo>
                    <a:pt x="13728" y="1427"/>
                    <a:pt x="13701" y="1467"/>
                    <a:pt x="13670" y="1500"/>
                  </a:cubicBezTo>
                  <a:cubicBezTo>
                    <a:pt x="13638" y="1533"/>
                    <a:pt x="13603" y="1560"/>
                    <a:pt x="13565" y="1580"/>
                  </a:cubicBezTo>
                  <a:lnTo>
                    <a:pt x="13469" y="1480"/>
                  </a:lnTo>
                  <a:lnTo>
                    <a:pt x="13459" y="1310"/>
                  </a:lnTo>
                  <a:lnTo>
                    <a:pt x="13425" y="1176"/>
                  </a:lnTo>
                  <a:lnTo>
                    <a:pt x="13378" y="1120"/>
                  </a:lnTo>
                  <a:lnTo>
                    <a:pt x="13268" y="1101"/>
                  </a:lnTo>
                  <a:lnTo>
                    <a:pt x="13148" y="1115"/>
                  </a:lnTo>
                  <a:lnTo>
                    <a:pt x="13089" y="1183"/>
                  </a:lnTo>
                  <a:lnTo>
                    <a:pt x="13018" y="1183"/>
                  </a:lnTo>
                  <a:lnTo>
                    <a:pt x="12818" y="1192"/>
                  </a:lnTo>
                  <a:lnTo>
                    <a:pt x="12642" y="1192"/>
                  </a:lnTo>
                  <a:lnTo>
                    <a:pt x="12500" y="1104"/>
                  </a:lnTo>
                  <a:lnTo>
                    <a:pt x="12494" y="1027"/>
                  </a:lnTo>
                  <a:lnTo>
                    <a:pt x="12560" y="956"/>
                  </a:lnTo>
                  <a:lnTo>
                    <a:pt x="12650" y="915"/>
                  </a:lnTo>
                  <a:lnTo>
                    <a:pt x="12674" y="840"/>
                  </a:lnTo>
                  <a:lnTo>
                    <a:pt x="12555" y="840"/>
                  </a:lnTo>
                  <a:lnTo>
                    <a:pt x="12364" y="876"/>
                  </a:lnTo>
                  <a:lnTo>
                    <a:pt x="12266" y="825"/>
                  </a:lnTo>
                  <a:lnTo>
                    <a:pt x="12129" y="723"/>
                  </a:lnTo>
                  <a:lnTo>
                    <a:pt x="11999" y="650"/>
                  </a:lnTo>
                  <a:lnTo>
                    <a:pt x="11913" y="614"/>
                  </a:lnTo>
                  <a:lnTo>
                    <a:pt x="11760" y="572"/>
                  </a:lnTo>
                  <a:lnTo>
                    <a:pt x="11642" y="550"/>
                  </a:lnTo>
                  <a:lnTo>
                    <a:pt x="11514" y="550"/>
                  </a:lnTo>
                  <a:lnTo>
                    <a:pt x="11415" y="558"/>
                  </a:lnTo>
                  <a:lnTo>
                    <a:pt x="11319" y="601"/>
                  </a:lnTo>
                  <a:lnTo>
                    <a:pt x="11143" y="637"/>
                  </a:lnTo>
                  <a:lnTo>
                    <a:pt x="11018" y="616"/>
                  </a:lnTo>
                  <a:lnTo>
                    <a:pt x="10847" y="514"/>
                  </a:lnTo>
                  <a:lnTo>
                    <a:pt x="10762" y="449"/>
                  </a:lnTo>
                  <a:lnTo>
                    <a:pt x="10681" y="458"/>
                  </a:lnTo>
                  <a:lnTo>
                    <a:pt x="10573" y="509"/>
                  </a:lnTo>
                  <a:lnTo>
                    <a:pt x="10499" y="546"/>
                  </a:lnTo>
                  <a:lnTo>
                    <a:pt x="10376" y="524"/>
                  </a:lnTo>
                  <a:lnTo>
                    <a:pt x="10291" y="502"/>
                  </a:lnTo>
                  <a:lnTo>
                    <a:pt x="10121" y="517"/>
                  </a:lnTo>
                  <a:lnTo>
                    <a:pt x="9918" y="575"/>
                  </a:lnTo>
                  <a:lnTo>
                    <a:pt x="9714" y="655"/>
                  </a:lnTo>
                  <a:lnTo>
                    <a:pt x="9448" y="747"/>
                  </a:lnTo>
                  <a:lnTo>
                    <a:pt x="9329" y="769"/>
                  </a:lnTo>
                  <a:lnTo>
                    <a:pt x="8951" y="819"/>
                  </a:lnTo>
                  <a:lnTo>
                    <a:pt x="8616" y="776"/>
                  </a:lnTo>
                  <a:lnTo>
                    <a:pt x="8127" y="613"/>
                  </a:lnTo>
                  <a:lnTo>
                    <a:pt x="7941" y="509"/>
                  </a:lnTo>
                  <a:lnTo>
                    <a:pt x="7648" y="483"/>
                  </a:lnTo>
                  <a:lnTo>
                    <a:pt x="7075" y="407"/>
                  </a:lnTo>
                  <a:lnTo>
                    <a:pt x="6936" y="356"/>
                  </a:lnTo>
                  <a:lnTo>
                    <a:pt x="6817" y="290"/>
                  </a:lnTo>
                  <a:lnTo>
                    <a:pt x="6682" y="254"/>
                  </a:lnTo>
                  <a:lnTo>
                    <a:pt x="6466" y="217"/>
                  </a:lnTo>
                  <a:lnTo>
                    <a:pt x="6284" y="195"/>
                  </a:lnTo>
                  <a:lnTo>
                    <a:pt x="6126" y="188"/>
                  </a:lnTo>
                  <a:lnTo>
                    <a:pt x="5969" y="188"/>
                  </a:lnTo>
                  <a:lnTo>
                    <a:pt x="5690" y="225"/>
                  </a:lnTo>
                  <a:lnTo>
                    <a:pt x="5320" y="268"/>
                  </a:lnTo>
                  <a:lnTo>
                    <a:pt x="5074" y="361"/>
                  </a:lnTo>
                  <a:lnTo>
                    <a:pt x="4688" y="433"/>
                  </a:lnTo>
                  <a:lnTo>
                    <a:pt x="4586" y="477"/>
                  </a:lnTo>
                  <a:lnTo>
                    <a:pt x="4348" y="572"/>
                  </a:lnTo>
                  <a:lnTo>
                    <a:pt x="4054" y="701"/>
                  </a:lnTo>
                  <a:lnTo>
                    <a:pt x="3823" y="793"/>
                  </a:lnTo>
                  <a:lnTo>
                    <a:pt x="3588" y="866"/>
                  </a:lnTo>
                  <a:lnTo>
                    <a:pt x="3471" y="862"/>
                  </a:lnTo>
                  <a:close/>
                </a:path>
              </a:pathLst>
            </a:custGeom>
            <a:grpFill/>
            <a:ln w="25400" cap="flat">
              <a:noFill/>
              <a:prstDash val="solid"/>
              <a:miter lim="400000"/>
            </a:ln>
            <a:effectLst/>
          </p:spPr>
          <p:txBody>
            <a:bodyPr anchor="ctr"/>
            <a:lstStyle/>
            <a:p>
              <a:pPr algn="ctr"/>
              <a:endParaRPr/>
            </a:p>
          </p:txBody>
        </p:sp>
        <p:sp>
          <p:nvSpPr>
            <p:cNvPr id="13" name="iSḻïḋè">
              <a:extLst>
                <a:ext uri="{FF2B5EF4-FFF2-40B4-BE49-F238E27FC236}">
                  <a16:creationId xmlns:a16="http://schemas.microsoft.com/office/drawing/2014/main" id="{45A86B82-39D0-482D-BA79-C6693ECB201F}"/>
                </a:ext>
              </a:extLst>
            </p:cNvPr>
            <p:cNvSpPr/>
            <p:nvPr/>
          </p:nvSpPr>
          <p:spPr>
            <a:xfrm>
              <a:off x="2659645" y="1473576"/>
              <a:ext cx="486286" cy="175323"/>
            </a:xfrm>
            <a:custGeom>
              <a:avLst/>
              <a:gdLst/>
              <a:ahLst/>
              <a:cxnLst>
                <a:cxn ang="0">
                  <a:pos x="wd2" y="hd2"/>
                </a:cxn>
                <a:cxn ang="5400000">
                  <a:pos x="wd2" y="hd2"/>
                </a:cxn>
                <a:cxn ang="10800000">
                  <a:pos x="wd2" y="hd2"/>
                </a:cxn>
                <a:cxn ang="16200000">
                  <a:pos x="wd2" y="hd2"/>
                </a:cxn>
              </a:cxnLst>
              <a:rect l="0" t="0" r="r" b="b"/>
              <a:pathLst>
                <a:path w="21600" h="21600" extrusionOk="0">
                  <a:moveTo>
                    <a:pt x="5634" y="1167"/>
                  </a:moveTo>
                  <a:lnTo>
                    <a:pt x="4811" y="2252"/>
                  </a:lnTo>
                  <a:lnTo>
                    <a:pt x="2967" y="4498"/>
                  </a:lnTo>
                  <a:lnTo>
                    <a:pt x="1963" y="5618"/>
                  </a:lnTo>
                  <a:lnTo>
                    <a:pt x="576" y="7014"/>
                  </a:lnTo>
                  <a:lnTo>
                    <a:pt x="80" y="8227"/>
                  </a:lnTo>
                  <a:lnTo>
                    <a:pt x="0" y="9312"/>
                  </a:lnTo>
                  <a:lnTo>
                    <a:pt x="451" y="10588"/>
                  </a:lnTo>
                  <a:lnTo>
                    <a:pt x="1016" y="11735"/>
                  </a:lnTo>
                  <a:cubicBezTo>
                    <a:pt x="1189" y="11851"/>
                    <a:pt x="1367" y="11914"/>
                    <a:pt x="1545" y="11921"/>
                  </a:cubicBezTo>
                  <a:cubicBezTo>
                    <a:pt x="2101" y="11944"/>
                    <a:pt x="2642" y="11441"/>
                    <a:pt x="3079" y="10495"/>
                  </a:cubicBezTo>
                  <a:lnTo>
                    <a:pt x="3970" y="9406"/>
                  </a:lnTo>
                  <a:lnTo>
                    <a:pt x="5427" y="8286"/>
                  </a:lnTo>
                  <a:lnTo>
                    <a:pt x="6330" y="8286"/>
                  </a:lnTo>
                  <a:lnTo>
                    <a:pt x="7392" y="10183"/>
                  </a:lnTo>
                  <a:lnTo>
                    <a:pt x="7965" y="10836"/>
                  </a:lnTo>
                  <a:lnTo>
                    <a:pt x="7774" y="11797"/>
                  </a:lnTo>
                  <a:lnTo>
                    <a:pt x="7111" y="12073"/>
                  </a:lnTo>
                  <a:cubicBezTo>
                    <a:pt x="6813" y="12042"/>
                    <a:pt x="6516" y="12011"/>
                    <a:pt x="6219" y="11980"/>
                  </a:cubicBezTo>
                  <a:cubicBezTo>
                    <a:pt x="5914" y="11948"/>
                    <a:pt x="5609" y="11917"/>
                    <a:pt x="5304" y="11886"/>
                  </a:cubicBezTo>
                  <a:lnTo>
                    <a:pt x="5201" y="13473"/>
                  </a:lnTo>
                  <a:lnTo>
                    <a:pt x="6409" y="14126"/>
                  </a:lnTo>
                  <a:cubicBezTo>
                    <a:pt x="6963" y="14051"/>
                    <a:pt x="7516" y="13958"/>
                    <a:pt x="8069" y="13846"/>
                  </a:cubicBezTo>
                  <a:cubicBezTo>
                    <a:pt x="8714" y="13716"/>
                    <a:pt x="9358" y="13560"/>
                    <a:pt x="10001" y="13380"/>
                  </a:cubicBezTo>
                  <a:lnTo>
                    <a:pt x="10642" y="15239"/>
                  </a:lnTo>
                  <a:lnTo>
                    <a:pt x="9896" y="15981"/>
                  </a:lnTo>
                  <a:cubicBezTo>
                    <a:pt x="9546" y="16191"/>
                    <a:pt x="9192" y="16347"/>
                    <a:pt x="8836" y="16448"/>
                  </a:cubicBezTo>
                  <a:cubicBezTo>
                    <a:pt x="7951" y="16697"/>
                    <a:pt x="7059" y="16604"/>
                    <a:pt x="6183" y="16172"/>
                  </a:cubicBezTo>
                  <a:lnTo>
                    <a:pt x="4831" y="16172"/>
                  </a:lnTo>
                  <a:lnTo>
                    <a:pt x="4764" y="17467"/>
                  </a:lnTo>
                  <a:lnTo>
                    <a:pt x="5860" y="18555"/>
                  </a:lnTo>
                  <a:lnTo>
                    <a:pt x="7450" y="19951"/>
                  </a:lnTo>
                  <a:lnTo>
                    <a:pt x="9207" y="21320"/>
                  </a:lnTo>
                  <a:lnTo>
                    <a:pt x="10369" y="21600"/>
                  </a:lnTo>
                  <a:lnTo>
                    <a:pt x="11950" y="21507"/>
                  </a:lnTo>
                  <a:lnTo>
                    <a:pt x="13656" y="20231"/>
                  </a:lnTo>
                  <a:cubicBezTo>
                    <a:pt x="13887" y="19682"/>
                    <a:pt x="14168" y="19316"/>
                    <a:pt x="14469" y="19174"/>
                  </a:cubicBezTo>
                  <a:cubicBezTo>
                    <a:pt x="14818" y="19009"/>
                    <a:pt x="15172" y="19150"/>
                    <a:pt x="15519" y="19329"/>
                  </a:cubicBezTo>
                  <a:cubicBezTo>
                    <a:pt x="15975" y="19564"/>
                    <a:pt x="16427" y="19863"/>
                    <a:pt x="16872" y="20224"/>
                  </a:cubicBezTo>
                  <a:lnTo>
                    <a:pt x="18689" y="19850"/>
                  </a:lnTo>
                  <a:lnTo>
                    <a:pt x="20146" y="18544"/>
                  </a:lnTo>
                  <a:lnTo>
                    <a:pt x="21195" y="17237"/>
                  </a:lnTo>
                  <a:lnTo>
                    <a:pt x="21600" y="15873"/>
                  </a:lnTo>
                  <a:lnTo>
                    <a:pt x="21374" y="15130"/>
                  </a:lnTo>
                  <a:cubicBezTo>
                    <a:pt x="21049" y="15131"/>
                    <a:pt x="20734" y="14814"/>
                    <a:pt x="20486" y="14235"/>
                  </a:cubicBezTo>
                  <a:cubicBezTo>
                    <a:pt x="20325" y="13859"/>
                    <a:pt x="20198" y="13383"/>
                    <a:pt x="20115" y="12847"/>
                  </a:cubicBezTo>
                  <a:cubicBezTo>
                    <a:pt x="20094" y="12509"/>
                    <a:pt x="20094" y="12163"/>
                    <a:pt x="20115" y="11824"/>
                  </a:cubicBezTo>
                  <a:cubicBezTo>
                    <a:pt x="20168" y="10953"/>
                    <a:pt x="20353" y="10185"/>
                    <a:pt x="20623" y="9709"/>
                  </a:cubicBezTo>
                  <a:lnTo>
                    <a:pt x="21199" y="6443"/>
                  </a:lnTo>
                  <a:lnTo>
                    <a:pt x="21301" y="5513"/>
                  </a:lnTo>
                  <a:cubicBezTo>
                    <a:pt x="21336" y="5080"/>
                    <a:pt x="21268" y="4633"/>
                    <a:pt x="21131" y="4397"/>
                  </a:cubicBezTo>
                  <a:cubicBezTo>
                    <a:pt x="20903" y="4004"/>
                    <a:pt x="20627" y="4349"/>
                    <a:pt x="20376" y="4646"/>
                  </a:cubicBezTo>
                  <a:cubicBezTo>
                    <a:pt x="20058" y="5024"/>
                    <a:pt x="19716" y="5284"/>
                    <a:pt x="19439" y="5860"/>
                  </a:cubicBezTo>
                  <a:cubicBezTo>
                    <a:pt x="19169" y="6418"/>
                    <a:pt x="18986" y="7219"/>
                    <a:pt x="18761" y="7909"/>
                  </a:cubicBezTo>
                  <a:cubicBezTo>
                    <a:pt x="18530" y="8617"/>
                    <a:pt x="18255" y="9207"/>
                    <a:pt x="17949" y="9651"/>
                  </a:cubicBezTo>
                  <a:lnTo>
                    <a:pt x="17192" y="8997"/>
                  </a:lnTo>
                  <a:cubicBezTo>
                    <a:pt x="17245" y="8451"/>
                    <a:pt x="17264" y="7885"/>
                    <a:pt x="17249" y="7321"/>
                  </a:cubicBezTo>
                  <a:cubicBezTo>
                    <a:pt x="17234" y="6788"/>
                    <a:pt x="17188" y="6264"/>
                    <a:pt x="17113" y="5770"/>
                  </a:cubicBezTo>
                  <a:lnTo>
                    <a:pt x="16235" y="5863"/>
                  </a:lnTo>
                  <a:lnTo>
                    <a:pt x="15637" y="7539"/>
                  </a:lnTo>
                  <a:lnTo>
                    <a:pt x="14936" y="7349"/>
                  </a:lnTo>
                  <a:lnTo>
                    <a:pt x="14394" y="6820"/>
                  </a:lnTo>
                  <a:lnTo>
                    <a:pt x="13160" y="5925"/>
                  </a:lnTo>
                  <a:lnTo>
                    <a:pt x="12891" y="4996"/>
                  </a:lnTo>
                  <a:lnTo>
                    <a:pt x="12371" y="3658"/>
                  </a:lnTo>
                  <a:lnTo>
                    <a:pt x="11460" y="2356"/>
                  </a:lnTo>
                  <a:lnTo>
                    <a:pt x="10150" y="1298"/>
                  </a:lnTo>
                  <a:lnTo>
                    <a:pt x="9103" y="649"/>
                  </a:lnTo>
                  <a:lnTo>
                    <a:pt x="8371" y="2"/>
                  </a:lnTo>
                  <a:lnTo>
                    <a:pt x="7461" y="0"/>
                  </a:lnTo>
                  <a:lnTo>
                    <a:pt x="6933" y="376"/>
                  </a:lnTo>
                  <a:lnTo>
                    <a:pt x="5634" y="1167"/>
                  </a:lnTo>
                  <a:close/>
                </a:path>
              </a:pathLst>
            </a:custGeom>
            <a:grpFill/>
            <a:ln w="25400" cap="flat">
              <a:noFill/>
              <a:prstDash val="solid"/>
              <a:miter lim="400000"/>
            </a:ln>
            <a:effectLst/>
          </p:spPr>
          <p:txBody>
            <a:bodyPr anchor="ctr"/>
            <a:lstStyle/>
            <a:p>
              <a:pPr algn="ctr"/>
              <a:endParaRPr/>
            </a:p>
          </p:txBody>
        </p:sp>
        <p:sp>
          <p:nvSpPr>
            <p:cNvPr id="14" name="ïśļiḑé">
              <a:extLst>
                <a:ext uri="{FF2B5EF4-FFF2-40B4-BE49-F238E27FC236}">
                  <a16:creationId xmlns:a16="http://schemas.microsoft.com/office/drawing/2014/main" id="{A3EAA3C0-8C00-4B7E-922E-9E80BF1FF84C}"/>
                </a:ext>
              </a:extLst>
            </p:cNvPr>
            <p:cNvSpPr/>
            <p:nvPr/>
          </p:nvSpPr>
          <p:spPr>
            <a:xfrm>
              <a:off x="3184375" y="1615331"/>
              <a:ext cx="84303" cy="41888"/>
            </a:xfrm>
            <a:custGeom>
              <a:avLst/>
              <a:gdLst/>
              <a:ahLst/>
              <a:cxnLst>
                <a:cxn ang="0">
                  <a:pos x="wd2" y="hd2"/>
                </a:cxn>
                <a:cxn ang="5400000">
                  <a:pos x="wd2" y="hd2"/>
                </a:cxn>
                <a:cxn ang="10800000">
                  <a:pos x="wd2" y="hd2"/>
                </a:cxn>
                <a:cxn ang="16200000">
                  <a:pos x="wd2" y="hd2"/>
                </a:cxn>
              </a:cxnLst>
              <a:rect l="0" t="0" r="r" b="b"/>
              <a:pathLst>
                <a:path w="21600" h="21600" extrusionOk="0">
                  <a:moveTo>
                    <a:pt x="10670" y="2473"/>
                  </a:moveTo>
                  <a:lnTo>
                    <a:pt x="5361" y="4164"/>
                  </a:lnTo>
                  <a:lnTo>
                    <a:pt x="2017" y="7047"/>
                  </a:lnTo>
                  <a:lnTo>
                    <a:pt x="0" y="10954"/>
                  </a:lnTo>
                  <a:lnTo>
                    <a:pt x="2552" y="17693"/>
                  </a:lnTo>
                  <a:lnTo>
                    <a:pt x="5850" y="21600"/>
                  </a:lnTo>
                  <a:cubicBezTo>
                    <a:pt x="7389" y="21202"/>
                    <a:pt x="8897" y="20415"/>
                    <a:pt x="10337" y="19256"/>
                  </a:cubicBezTo>
                  <a:cubicBezTo>
                    <a:pt x="12339" y="17645"/>
                    <a:pt x="14178" y="15341"/>
                    <a:pt x="16135" y="13527"/>
                  </a:cubicBezTo>
                  <a:cubicBezTo>
                    <a:pt x="17883" y="11907"/>
                    <a:pt x="19716" y="10684"/>
                    <a:pt x="21600" y="9880"/>
                  </a:cubicBezTo>
                  <a:lnTo>
                    <a:pt x="21014" y="4151"/>
                  </a:lnTo>
                  <a:lnTo>
                    <a:pt x="17112" y="2719"/>
                  </a:lnTo>
                  <a:lnTo>
                    <a:pt x="14661" y="0"/>
                  </a:lnTo>
                  <a:lnTo>
                    <a:pt x="10670" y="2473"/>
                  </a:lnTo>
                  <a:close/>
                </a:path>
              </a:pathLst>
            </a:custGeom>
            <a:grpFill/>
            <a:ln w="25400" cap="flat">
              <a:noFill/>
              <a:prstDash val="solid"/>
              <a:miter lim="400000"/>
            </a:ln>
            <a:effectLst/>
          </p:spPr>
          <p:txBody>
            <a:bodyPr anchor="ctr"/>
            <a:lstStyle/>
            <a:p>
              <a:pPr algn="ctr"/>
              <a:endParaRPr/>
            </a:p>
          </p:txBody>
        </p:sp>
        <p:sp>
          <p:nvSpPr>
            <p:cNvPr id="15" name="ïšļidé">
              <a:extLst>
                <a:ext uri="{FF2B5EF4-FFF2-40B4-BE49-F238E27FC236}">
                  <a16:creationId xmlns:a16="http://schemas.microsoft.com/office/drawing/2014/main" id="{DCE4679D-6981-4B0D-949F-C77D47727060}"/>
                </a:ext>
              </a:extLst>
            </p:cNvPr>
            <p:cNvSpPr/>
            <p:nvPr/>
          </p:nvSpPr>
          <p:spPr>
            <a:xfrm>
              <a:off x="3215588" y="1484505"/>
              <a:ext cx="150776" cy="76940"/>
            </a:xfrm>
            <a:custGeom>
              <a:avLst/>
              <a:gdLst/>
              <a:ahLst/>
              <a:cxnLst>
                <a:cxn ang="0">
                  <a:pos x="wd2" y="hd2"/>
                </a:cxn>
                <a:cxn ang="5400000">
                  <a:pos x="wd2" y="hd2"/>
                </a:cxn>
                <a:cxn ang="10800000">
                  <a:pos x="wd2" y="hd2"/>
                </a:cxn>
                <a:cxn ang="16200000">
                  <a:pos x="wd2" y="hd2"/>
                </a:cxn>
              </a:cxnLst>
              <a:rect l="0" t="0" r="r" b="b"/>
              <a:pathLst>
                <a:path w="21600" h="21600" extrusionOk="0">
                  <a:moveTo>
                    <a:pt x="9855" y="8070"/>
                  </a:moveTo>
                  <a:lnTo>
                    <a:pt x="7801" y="11552"/>
                  </a:lnTo>
                  <a:lnTo>
                    <a:pt x="5516" y="10656"/>
                  </a:lnTo>
                  <a:lnTo>
                    <a:pt x="2915" y="8883"/>
                  </a:lnTo>
                  <a:lnTo>
                    <a:pt x="484" y="9938"/>
                  </a:lnTo>
                  <a:lnTo>
                    <a:pt x="0" y="12339"/>
                  </a:lnTo>
                  <a:lnTo>
                    <a:pt x="2322" y="13819"/>
                  </a:lnTo>
                  <a:lnTo>
                    <a:pt x="4989" y="16372"/>
                  </a:lnTo>
                  <a:lnTo>
                    <a:pt x="6259" y="21600"/>
                  </a:lnTo>
                  <a:lnTo>
                    <a:pt x="8764" y="21166"/>
                  </a:lnTo>
                  <a:lnTo>
                    <a:pt x="11419" y="18835"/>
                  </a:lnTo>
                  <a:lnTo>
                    <a:pt x="13595" y="17559"/>
                  </a:lnTo>
                  <a:lnTo>
                    <a:pt x="16209" y="16717"/>
                  </a:lnTo>
                  <a:lnTo>
                    <a:pt x="18103" y="12039"/>
                  </a:lnTo>
                  <a:lnTo>
                    <a:pt x="18868" y="8289"/>
                  </a:lnTo>
                  <a:lnTo>
                    <a:pt x="21600" y="2573"/>
                  </a:lnTo>
                  <a:lnTo>
                    <a:pt x="21345" y="797"/>
                  </a:lnTo>
                  <a:lnTo>
                    <a:pt x="19965" y="0"/>
                  </a:lnTo>
                  <a:lnTo>
                    <a:pt x="18121" y="1761"/>
                  </a:lnTo>
                  <a:lnTo>
                    <a:pt x="15430" y="3083"/>
                  </a:lnTo>
                  <a:cubicBezTo>
                    <a:pt x="14909" y="2790"/>
                    <a:pt x="14357" y="2790"/>
                    <a:pt x="13836" y="3083"/>
                  </a:cubicBezTo>
                  <a:cubicBezTo>
                    <a:pt x="13246" y="3416"/>
                    <a:pt x="12725" y="4109"/>
                    <a:pt x="12352" y="5060"/>
                  </a:cubicBezTo>
                  <a:lnTo>
                    <a:pt x="9855" y="8070"/>
                  </a:lnTo>
                  <a:close/>
                </a:path>
              </a:pathLst>
            </a:custGeom>
            <a:grpFill/>
            <a:ln w="25400" cap="flat">
              <a:noFill/>
              <a:prstDash val="solid"/>
              <a:miter lim="400000"/>
            </a:ln>
            <a:effectLst/>
          </p:spPr>
          <p:txBody>
            <a:bodyPr anchor="ctr"/>
            <a:lstStyle/>
            <a:p>
              <a:pPr algn="ctr"/>
              <a:endParaRPr/>
            </a:p>
          </p:txBody>
        </p:sp>
        <p:sp>
          <p:nvSpPr>
            <p:cNvPr id="16" name="îśḻïḍé">
              <a:extLst>
                <a:ext uri="{FF2B5EF4-FFF2-40B4-BE49-F238E27FC236}">
                  <a16:creationId xmlns:a16="http://schemas.microsoft.com/office/drawing/2014/main" id="{5C134FC0-0F44-4046-A253-542B215BD910}"/>
                </a:ext>
              </a:extLst>
            </p:cNvPr>
            <p:cNvSpPr/>
            <p:nvPr/>
          </p:nvSpPr>
          <p:spPr>
            <a:xfrm>
              <a:off x="3377772" y="1484037"/>
              <a:ext cx="117289" cy="51262"/>
            </a:xfrm>
            <a:custGeom>
              <a:avLst/>
              <a:gdLst/>
              <a:ahLst/>
              <a:cxnLst>
                <a:cxn ang="0">
                  <a:pos x="wd2" y="hd2"/>
                </a:cxn>
                <a:cxn ang="5400000">
                  <a:pos x="wd2" y="hd2"/>
                </a:cxn>
                <a:cxn ang="10800000">
                  <a:pos x="wd2" y="hd2"/>
                </a:cxn>
                <a:cxn ang="16200000">
                  <a:pos x="wd2" y="hd2"/>
                </a:cxn>
              </a:cxnLst>
              <a:rect l="0" t="0" r="r" b="b"/>
              <a:pathLst>
                <a:path w="21600" h="21600" extrusionOk="0">
                  <a:moveTo>
                    <a:pt x="16283" y="0"/>
                  </a:moveTo>
                  <a:lnTo>
                    <a:pt x="11928" y="3126"/>
                  </a:lnTo>
                  <a:lnTo>
                    <a:pt x="8108" y="3244"/>
                  </a:lnTo>
                  <a:lnTo>
                    <a:pt x="5428" y="5147"/>
                  </a:lnTo>
                  <a:lnTo>
                    <a:pt x="1745" y="9615"/>
                  </a:lnTo>
                  <a:lnTo>
                    <a:pt x="0" y="15547"/>
                  </a:lnTo>
                  <a:lnTo>
                    <a:pt x="588" y="20642"/>
                  </a:lnTo>
                  <a:lnTo>
                    <a:pt x="3255" y="21600"/>
                  </a:lnTo>
                  <a:lnTo>
                    <a:pt x="5550" y="17130"/>
                  </a:lnTo>
                  <a:lnTo>
                    <a:pt x="11731" y="15960"/>
                  </a:lnTo>
                  <a:lnTo>
                    <a:pt x="16226" y="17237"/>
                  </a:lnTo>
                  <a:lnTo>
                    <a:pt x="19914" y="14058"/>
                  </a:lnTo>
                  <a:lnTo>
                    <a:pt x="21459" y="10547"/>
                  </a:lnTo>
                  <a:lnTo>
                    <a:pt x="21600" y="3750"/>
                  </a:lnTo>
                  <a:lnTo>
                    <a:pt x="20248" y="1848"/>
                  </a:lnTo>
                  <a:lnTo>
                    <a:pt x="16283" y="0"/>
                  </a:lnTo>
                  <a:close/>
                </a:path>
              </a:pathLst>
            </a:custGeom>
            <a:grpFill/>
            <a:ln w="25400" cap="flat">
              <a:noFill/>
              <a:prstDash val="solid"/>
              <a:miter lim="400000"/>
            </a:ln>
            <a:effectLst/>
          </p:spPr>
          <p:txBody>
            <a:bodyPr anchor="ctr"/>
            <a:lstStyle/>
            <a:p>
              <a:pPr algn="ctr"/>
              <a:endParaRPr/>
            </a:p>
          </p:txBody>
        </p:sp>
        <p:sp>
          <p:nvSpPr>
            <p:cNvPr id="17" name="î$1iḋé">
              <a:extLst>
                <a:ext uri="{FF2B5EF4-FFF2-40B4-BE49-F238E27FC236}">
                  <a16:creationId xmlns:a16="http://schemas.microsoft.com/office/drawing/2014/main" id="{183E6593-58C7-45CF-A62F-704BF2AB0770}"/>
                </a:ext>
              </a:extLst>
            </p:cNvPr>
            <p:cNvSpPr/>
            <p:nvPr/>
          </p:nvSpPr>
          <p:spPr>
            <a:xfrm>
              <a:off x="3537340" y="1418200"/>
              <a:ext cx="289161" cy="66258"/>
            </a:xfrm>
            <a:custGeom>
              <a:avLst/>
              <a:gdLst/>
              <a:ahLst/>
              <a:cxnLst>
                <a:cxn ang="0">
                  <a:pos x="wd2" y="hd2"/>
                </a:cxn>
                <a:cxn ang="5400000">
                  <a:pos x="wd2" y="hd2"/>
                </a:cxn>
                <a:cxn ang="10800000">
                  <a:pos x="wd2" y="hd2"/>
                </a:cxn>
                <a:cxn ang="16200000">
                  <a:pos x="wd2" y="hd2"/>
                </a:cxn>
              </a:cxnLst>
              <a:rect l="0" t="0" r="r" b="b"/>
              <a:pathLst>
                <a:path w="21600" h="21600" extrusionOk="0">
                  <a:moveTo>
                    <a:pt x="3838" y="93"/>
                  </a:moveTo>
                  <a:lnTo>
                    <a:pt x="2736" y="1503"/>
                  </a:lnTo>
                  <a:lnTo>
                    <a:pt x="1623" y="3591"/>
                  </a:lnTo>
                  <a:lnTo>
                    <a:pt x="622" y="6051"/>
                  </a:lnTo>
                  <a:lnTo>
                    <a:pt x="0" y="11309"/>
                  </a:lnTo>
                  <a:cubicBezTo>
                    <a:pt x="23" y="12625"/>
                    <a:pt x="147" y="13870"/>
                    <a:pt x="350" y="14850"/>
                  </a:cubicBezTo>
                  <a:cubicBezTo>
                    <a:pt x="1005" y="17999"/>
                    <a:pt x="2162" y="17761"/>
                    <a:pt x="2744" y="14356"/>
                  </a:cubicBezTo>
                  <a:lnTo>
                    <a:pt x="5745" y="14109"/>
                  </a:lnTo>
                  <a:lnTo>
                    <a:pt x="6941" y="15344"/>
                  </a:lnTo>
                  <a:lnTo>
                    <a:pt x="7732" y="17545"/>
                  </a:lnTo>
                  <a:lnTo>
                    <a:pt x="11998" y="18080"/>
                  </a:lnTo>
                  <a:lnTo>
                    <a:pt x="14484" y="17092"/>
                  </a:lnTo>
                  <a:lnTo>
                    <a:pt x="15087" y="21600"/>
                  </a:lnTo>
                  <a:lnTo>
                    <a:pt x="16550" y="21600"/>
                  </a:lnTo>
                  <a:lnTo>
                    <a:pt x="17231" y="19140"/>
                  </a:lnTo>
                  <a:lnTo>
                    <a:pt x="18865" y="15518"/>
                  </a:lnTo>
                  <a:lnTo>
                    <a:pt x="20308" y="14036"/>
                  </a:lnTo>
                  <a:lnTo>
                    <a:pt x="21600" y="11412"/>
                  </a:lnTo>
                  <a:cubicBezTo>
                    <a:pt x="21334" y="10787"/>
                    <a:pt x="21058" y="10251"/>
                    <a:pt x="20774" y="9806"/>
                  </a:cubicBezTo>
                  <a:cubicBezTo>
                    <a:pt x="20288" y="9047"/>
                    <a:pt x="19783" y="8563"/>
                    <a:pt x="19275" y="8160"/>
                  </a:cubicBezTo>
                  <a:cubicBezTo>
                    <a:pt x="18598" y="7622"/>
                    <a:pt x="17913" y="7228"/>
                    <a:pt x="17224" y="7172"/>
                  </a:cubicBezTo>
                  <a:cubicBezTo>
                    <a:pt x="16485" y="7113"/>
                    <a:pt x="15746" y="7444"/>
                    <a:pt x="15026" y="8160"/>
                  </a:cubicBezTo>
                  <a:lnTo>
                    <a:pt x="12369" y="8407"/>
                  </a:lnTo>
                  <a:lnTo>
                    <a:pt x="10911" y="9394"/>
                  </a:lnTo>
                  <a:lnTo>
                    <a:pt x="8883" y="10619"/>
                  </a:lnTo>
                  <a:lnTo>
                    <a:pt x="7915" y="8232"/>
                  </a:lnTo>
                  <a:lnTo>
                    <a:pt x="5806" y="3786"/>
                  </a:lnTo>
                  <a:lnTo>
                    <a:pt x="5241" y="0"/>
                  </a:lnTo>
                  <a:lnTo>
                    <a:pt x="3838" y="93"/>
                  </a:lnTo>
                  <a:close/>
                </a:path>
              </a:pathLst>
            </a:custGeom>
            <a:grpFill/>
            <a:ln w="25400" cap="flat">
              <a:noFill/>
              <a:prstDash val="solid"/>
              <a:miter lim="400000"/>
            </a:ln>
            <a:effectLst/>
          </p:spPr>
          <p:txBody>
            <a:bodyPr anchor="ctr"/>
            <a:lstStyle/>
            <a:p>
              <a:pPr algn="ctr"/>
              <a:endParaRPr/>
            </a:p>
          </p:txBody>
        </p:sp>
        <p:sp>
          <p:nvSpPr>
            <p:cNvPr id="18" name="iŝḷïďê">
              <a:extLst>
                <a:ext uri="{FF2B5EF4-FFF2-40B4-BE49-F238E27FC236}">
                  <a16:creationId xmlns:a16="http://schemas.microsoft.com/office/drawing/2014/main" id="{E33F9753-8D9C-43C2-B23D-3562D8E3FC43}"/>
                </a:ext>
              </a:extLst>
            </p:cNvPr>
            <p:cNvSpPr/>
            <p:nvPr/>
          </p:nvSpPr>
          <p:spPr>
            <a:xfrm>
              <a:off x="3672980" y="1247323"/>
              <a:ext cx="662519" cy="187834"/>
            </a:xfrm>
            <a:custGeom>
              <a:avLst/>
              <a:gdLst/>
              <a:ahLst/>
              <a:cxnLst>
                <a:cxn ang="0">
                  <a:pos x="wd2" y="hd2"/>
                </a:cxn>
                <a:cxn ang="5400000">
                  <a:pos x="wd2" y="hd2"/>
                </a:cxn>
                <a:cxn ang="10800000">
                  <a:pos x="wd2" y="hd2"/>
                </a:cxn>
                <a:cxn ang="16200000">
                  <a:pos x="wd2" y="hd2"/>
                </a:cxn>
              </a:cxnLst>
              <a:rect l="0" t="0" r="r" b="b"/>
              <a:pathLst>
                <a:path w="21600" h="21600" extrusionOk="0">
                  <a:moveTo>
                    <a:pt x="5561" y="13378"/>
                  </a:moveTo>
                  <a:lnTo>
                    <a:pt x="5088" y="13526"/>
                  </a:lnTo>
                  <a:lnTo>
                    <a:pt x="4669" y="12962"/>
                  </a:lnTo>
                  <a:lnTo>
                    <a:pt x="4219" y="12959"/>
                  </a:lnTo>
                  <a:lnTo>
                    <a:pt x="3753" y="12614"/>
                  </a:lnTo>
                  <a:lnTo>
                    <a:pt x="3243" y="12700"/>
                  </a:lnTo>
                  <a:lnTo>
                    <a:pt x="3001" y="13654"/>
                  </a:lnTo>
                  <a:lnTo>
                    <a:pt x="3447" y="14348"/>
                  </a:lnTo>
                  <a:lnTo>
                    <a:pt x="4117" y="13825"/>
                  </a:lnTo>
                  <a:lnTo>
                    <a:pt x="4612" y="14954"/>
                  </a:lnTo>
                  <a:lnTo>
                    <a:pt x="4247" y="16144"/>
                  </a:lnTo>
                  <a:lnTo>
                    <a:pt x="3401" y="16493"/>
                  </a:lnTo>
                  <a:lnTo>
                    <a:pt x="3037" y="17070"/>
                  </a:lnTo>
                  <a:lnTo>
                    <a:pt x="2338" y="17502"/>
                  </a:lnTo>
                  <a:lnTo>
                    <a:pt x="1089" y="17154"/>
                  </a:lnTo>
                  <a:lnTo>
                    <a:pt x="368" y="16144"/>
                  </a:lnTo>
                  <a:lnTo>
                    <a:pt x="0" y="16754"/>
                  </a:lnTo>
                  <a:lnTo>
                    <a:pt x="473" y="17680"/>
                  </a:lnTo>
                  <a:lnTo>
                    <a:pt x="1410" y="19248"/>
                  </a:lnTo>
                  <a:cubicBezTo>
                    <a:pt x="1564" y="19437"/>
                    <a:pt x="1722" y="19583"/>
                    <a:pt x="1882" y="19684"/>
                  </a:cubicBezTo>
                  <a:cubicBezTo>
                    <a:pt x="2315" y="19954"/>
                    <a:pt x="2758" y="19895"/>
                    <a:pt x="3184" y="19509"/>
                  </a:cubicBezTo>
                  <a:lnTo>
                    <a:pt x="4003" y="18899"/>
                  </a:lnTo>
                  <a:lnTo>
                    <a:pt x="4865" y="19684"/>
                  </a:lnTo>
                  <a:lnTo>
                    <a:pt x="5810" y="21600"/>
                  </a:lnTo>
                  <a:lnTo>
                    <a:pt x="6299" y="20087"/>
                  </a:lnTo>
                  <a:cubicBezTo>
                    <a:pt x="6564" y="19546"/>
                    <a:pt x="6838" y="19061"/>
                    <a:pt x="7119" y="18634"/>
                  </a:cubicBezTo>
                  <a:cubicBezTo>
                    <a:pt x="7498" y="18061"/>
                    <a:pt x="7889" y="17595"/>
                    <a:pt x="8288" y="17241"/>
                  </a:cubicBezTo>
                  <a:lnTo>
                    <a:pt x="8943" y="16573"/>
                  </a:lnTo>
                  <a:cubicBezTo>
                    <a:pt x="9325" y="16367"/>
                    <a:pt x="9696" y="15967"/>
                    <a:pt x="10045" y="15386"/>
                  </a:cubicBezTo>
                  <a:cubicBezTo>
                    <a:pt x="10339" y="14896"/>
                    <a:pt x="10614" y="14282"/>
                    <a:pt x="10865" y="13557"/>
                  </a:cubicBezTo>
                  <a:lnTo>
                    <a:pt x="11910" y="11553"/>
                  </a:lnTo>
                  <a:lnTo>
                    <a:pt x="12755" y="10329"/>
                  </a:lnTo>
                  <a:lnTo>
                    <a:pt x="14123" y="9460"/>
                  </a:lnTo>
                  <a:lnTo>
                    <a:pt x="15016" y="8853"/>
                  </a:lnTo>
                  <a:lnTo>
                    <a:pt x="16306" y="7600"/>
                  </a:lnTo>
                  <a:lnTo>
                    <a:pt x="17582" y="6587"/>
                  </a:lnTo>
                  <a:lnTo>
                    <a:pt x="19014" y="5139"/>
                  </a:lnTo>
                  <a:lnTo>
                    <a:pt x="20556" y="3047"/>
                  </a:lnTo>
                  <a:lnTo>
                    <a:pt x="21202" y="1453"/>
                  </a:lnTo>
                  <a:lnTo>
                    <a:pt x="21600" y="174"/>
                  </a:lnTo>
                  <a:lnTo>
                    <a:pt x="21294" y="0"/>
                  </a:lnTo>
                  <a:lnTo>
                    <a:pt x="20633" y="10"/>
                  </a:lnTo>
                  <a:lnTo>
                    <a:pt x="19151" y="1139"/>
                  </a:lnTo>
                  <a:cubicBezTo>
                    <a:pt x="18849" y="1367"/>
                    <a:pt x="18545" y="1570"/>
                    <a:pt x="18239" y="1749"/>
                  </a:cubicBezTo>
                  <a:cubicBezTo>
                    <a:pt x="17545" y="2156"/>
                    <a:pt x="16846" y="2436"/>
                    <a:pt x="16143" y="2588"/>
                  </a:cubicBezTo>
                  <a:lnTo>
                    <a:pt x="14478" y="2326"/>
                  </a:lnTo>
                  <a:lnTo>
                    <a:pt x="13302" y="2239"/>
                  </a:lnTo>
                  <a:lnTo>
                    <a:pt x="12681" y="2239"/>
                  </a:lnTo>
                  <a:lnTo>
                    <a:pt x="11912" y="2497"/>
                  </a:lnTo>
                  <a:lnTo>
                    <a:pt x="10970" y="2932"/>
                  </a:lnTo>
                  <a:cubicBezTo>
                    <a:pt x="10552" y="3620"/>
                    <a:pt x="10097" y="3995"/>
                    <a:pt x="9635" y="4036"/>
                  </a:cubicBezTo>
                  <a:cubicBezTo>
                    <a:pt x="9179" y="4076"/>
                    <a:pt x="8728" y="3788"/>
                    <a:pt x="8276" y="3600"/>
                  </a:cubicBezTo>
                  <a:cubicBezTo>
                    <a:pt x="7888" y="3439"/>
                    <a:pt x="7498" y="3352"/>
                    <a:pt x="7108" y="3339"/>
                  </a:cubicBezTo>
                  <a:lnTo>
                    <a:pt x="6305" y="3339"/>
                  </a:lnTo>
                  <a:lnTo>
                    <a:pt x="5909" y="3945"/>
                  </a:lnTo>
                  <a:lnTo>
                    <a:pt x="6356" y="4864"/>
                  </a:lnTo>
                  <a:lnTo>
                    <a:pt x="6967" y="5096"/>
                  </a:lnTo>
                  <a:cubicBezTo>
                    <a:pt x="7229" y="5258"/>
                    <a:pt x="7491" y="5403"/>
                    <a:pt x="7755" y="5531"/>
                  </a:cubicBezTo>
                  <a:cubicBezTo>
                    <a:pt x="8151" y="5725"/>
                    <a:pt x="8549" y="5880"/>
                    <a:pt x="8948" y="5996"/>
                  </a:cubicBezTo>
                  <a:cubicBezTo>
                    <a:pt x="9130" y="6050"/>
                    <a:pt x="9312" y="6050"/>
                    <a:pt x="9493" y="5996"/>
                  </a:cubicBezTo>
                  <a:cubicBezTo>
                    <a:pt x="9721" y="5928"/>
                    <a:pt x="9946" y="5776"/>
                    <a:pt x="10171" y="5648"/>
                  </a:cubicBezTo>
                  <a:cubicBezTo>
                    <a:pt x="10400" y="5517"/>
                    <a:pt x="10629" y="5411"/>
                    <a:pt x="10859" y="5328"/>
                  </a:cubicBezTo>
                  <a:lnTo>
                    <a:pt x="11646" y="6374"/>
                  </a:lnTo>
                  <a:lnTo>
                    <a:pt x="11398" y="7992"/>
                  </a:lnTo>
                  <a:lnTo>
                    <a:pt x="10289" y="8686"/>
                  </a:lnTo>
                  <a:cubicBezTo>
                    <a:pt x="9973" y="8994"/>
                    <a:pt x="9649" y="9198"/>
                    <a:pt x="9321" y="9296"/>
                  </a:cubicBezTo>
                  <a:cubicBezTo>
                    <a:pt x="8943" y="9409"/>
                    <a:pt x="8562" y="9380"/>
                    <a:pt x="8186" y="9209"/>
                  </a:cubicBezTo>
                  <a:lnTo>
                    <a:pt x="7166" y="9034"/>
                  </a:lnTo>
                  <a:cubicBezTo>
                    <a:pt x="6949" y="8622"/>
                    <a:pt x="6715" y="8329"/>
                    <a:pt x="6473" y="8167"/>
                  </a:cubicBezTo>
                  <a:cubicBezTo>
                    <a:pt x="6175" y="7967"/>
                    <a:pt x="5868" y="7967"/>
                    <a:pt x="5570" y="8167"/>
                  </a:cubicBezTo>
                  <a:lnTo>
                    <a:pt x="4985" y="8744"/>
                  </a:lnTo>
                  <a:lnTo>
                    <a:pt x="5399" y="10189"/>
                  </a:lnTo>
                  <a:lnTo>
                    <a:pt x="5614" y="11056"/>
                  </a:lnTo>
                  <a:lnTo>
                    <a:pt x="5762" y="12595"/>
                  </a:lnTo>
                  <a:lnTo>
                    <a:pt x="5561" y="13378"/>
                  </a:lnTo>
                  <a:close/>
                </a:path>
              </a:pathLst>
            </a:custGeom>
            <a:grpFill/>
            <a:ln w="25400" cap="flat">
              <a:noFill/>
              <a:prstDash val="solid"/>
              <a:miter lim="400000"/>
            </a:ln>
            <a:effectLst/>
          </p:spPr>
          <p:txBody>
            <a:bodyPr anchor="ctr"/>
            <a:lstStyle/>
            <a:p>
              <a:pPr algn="ctr"/>
              <a:endParaRPr/>
            </a:p>
          </p:txBody>
        </p:sp>
        <p:sp>
          <p:nvSpPr>
            <p:cNvPr id="19" name="îSḷïḓê">
              <a:extLst>
                <a:ext uri="{FF2B5EF4-FFF2-40B4-BE49-F238E27FC236}">
                  <a16:creationId xmlns:a16="http://schemas.microsoft.com/office/drawing/2014/main" id="{0DE78F90-3021-447E-97B0-FFADCD22C365}"/>
                </a:ext>
              </a:extLst>
            </p:cNvPr>
            <p:cNvSpPr/>
            <p:nvPr/>
          </p:nvSpPr>
          <p:spPr>
            <a:xfrm>
              <a:off x="4072085" y="1252852"/>
              <a:ext cx="1290276" cy="661440"/>
            </a:xfrm>
            <a:custGeom>
              <a:avLst/>
              <a:gdLst/>
              <a:ahLst/>
              <a:cxnLst>
                <a:cxn ang="0">
                  <a:pos x="wd2" y="hd2"/>
                </a:cxn>
                <a:cxn ang="5400000">
                  <a:pos x="wd2" y="hd2"/>
                </a:cxn>
                <a:cxn ang="10800000">
                  <a:pos x="wd2" y="hd2"/>
                </a:cxn>
                <a:cxn ang="16200000">
                  <a:pos x="wd2" y="hd2"/>
                </a:cxn>
              </a:cxnLst>
              <a:rect l="0" t="0" r="r" b="b"/>
              <a:pathLst>
                <a:path w="21600" h="21600" extrusionOk="0">
                  <a:moveTo>
                    <a:pt x="4570" y="1596"/>
                  </a:moveTo>
                  <a:lnTo>
                    <a:pt x="3927" y="2113"/>
                  </a:lnTo>
                  <a:lnTo>
                    <a:pt x="2963" y="3015"/>
                  </a:lnTo>
                  <a:lnTo>
                    <a:pt x="2197" y="3378"/>
                  </a:lnTo>
                  <a:cubicBezTo>
                    <a:pt x="1959" y="3423"/>
                    <a:pt x="1720" y="3456"/>
                    <a:pt x="1481" y="3477"/>
                  </a:cubicBezTo>
                  <a:cubicBezTo>
                    <a:pt x="1325" y="3490"/>
                    <a:pt x="1168" y="3498"/>
                    <a:pt x="1012" y="3501"/>
                  </a:cubicBezTo>
                  <a:lnTo>
                    <a:pt x="480" y="3625"/>
                  </a:lnTo>
                  <a:lnTo>
                    <a:pt x="0" y="4046"/>
                  </a:lnTo>
                  <a:lnTo>
                    <a:pt x="205" y="4266"/>
                  </a:lnTo>
                  <a:lnTo>
                    <a:pt x="192" y="4578"/>
                  </a:lnTo>
                  <a:lnTo>
                    <a:pt x="145" y="4873"/>
                  </a:lnTo>
                  <a:lnTo>
                    <a:pt x="366" y="5235"/>
                  </a:lnTo>
                  <a:cubicBezTo>
                    <a:pt x="483" y="5325"/>
                    <a:pt x="606" y="5381"/>
                    <a:pt x="731" y="5399"/>
                  </a:cubicBezTo>
                  <a:cubicBezTo>
                    <a:pt x="871" y="5420"/>
                    <a:pt x="1012" y="5394"/>
                    <a:pt x="1152" y="5399"/>
                  </a:cubicBezTo>
                  <a:cubicBezTo>
                    <a:pt x="1276" y="5404"/>
                    <a:pt x="1400" y="5432"/>
                    <a:pt x="1522" y="5399"/>
                  </a:cubicBezTo>
                  <a:cubicBezTo>
                    <a:pt x="1649" y="5365"/>
                    <a:pt x="1769" y="5267"/>
                    <a:pt x="1892" y="5202"/>
                  </a:cubicBezTo>
                  <a:cubicBezTo>
                    <a:pt x="2058" y="5116"/>
                    <a:pt x="2231" y="5090"/>
                    <a:pt x="2402" y="5128"/>
                  </a:cubicBezTo>
                  <a:lnTo>
                    <a:pt x="2767" y="5276"/>
                  </a:lnTo>
                  <a:cubicBezTo>
                    <a:pt x="2900" y="5352"/>
                    <a:pt x="3033" y="5420"/>
                    <a:pt x="3167" y="5482"/>
                  </a:cubicBezTo>
                  <a:cubicBezTo>
                    <a:pt x="3243" y="5518"/>
                    <a:pt x="3319" y="5551"/>
                    <a:pt x="3395" y="5581"/>
                  </a:cubicBezTo>
                  <a:lnTo>
                    <a:pt x="3650" y="5902"/>
                  </a:lnTo>
                  <a:lnTo>
                    <a:pt x="4020" y="6514"/>
                  </a:lnTo>
                  <a:lnTo>
                    <a:pt x="4415" y="7659"/>
                  </a:lnTo>
                  <a:lnTo>
                    <a:pt x="4440" y="8450"/>
                  </a:lnTo>
                  <a:lnTo>
                    <a:pt x="4352" y="9024"/>
                  </a:lnTo>
                  <a:lnTo>
                    <a:pt x="4531" y="9485"/>
                  </a:lnTo>
                  <a:lnTo>
                    <a:pt x="4876" y="9749"/>
                  </a:lnTo>
                  <a:lnTo>
                    <a:pt x="5054" y="10490"/>
                  </a:lnTo>
                  <a:lnTo>
                    <a:pt x="5054" y="11980"/>
                  </a:lnTo>
                  <a:lnTo>
                    <a:pt x="4876" y="12838"/>
                  </a:lnTo>
                  <a:lnTo>
                    <a:pt x="4638" y="13183"/>
                  </a:lnTo>
                  <a:lnTo>
                    <a:pt x="3903" y="13807"/>
                  </a:lnTo>
                  <a:lnTo>
                    <a:pt x="3525" y="14343"/>
                  </a:lnTo>
                  <a:lnTo>
                    <a:pt x="3368" y="15002"/>
                  </a:lnTo>
                  <a:lnTo>
                    <a:pt x="3321" y="15677"/>
                  </a:lnTo>
                  <a:cubicBezTo>
                    <a:pt x="3404" y="15780"/>
                    <a:pt x="3470" y="15925"/>
                    <a:pt x="3512" y="16096"/>
                  </a:cubicBezTo>
                  <a:cubicBezTo>
                    <a:pt x="3580" y="16367"/>
                    <a:pt x="3585" y="16682"/>
                    <a:pt x="3525" y="16960"/>
                  </a:cubicBezTo>
                  <a:lnTo>
                    <a:pt x="3385" y="17619"/>
                  </a:lnTo>
                  <a:lnTo>
                    <a:pt x="3351" y="18130"/>
                  </a:lnTo>
                  <a:lnTo>
                    <a:pt x="3444" y="18881"/>
                  </a:lnTo>
                  <a:lnTo>
                    <a:pt x="3708" y="19400"/>
                  </a:lnTo>
                  <a:lnTo>
                    <a:pt x="4236" y="20174"/>
                  </a:lnTo>
                  <a:lnTo>
                    <a:pt x="4376" y="20719"/>
                  </a:lnTo>
                  <a:lnTo>
                    <a:pt x="4670" y="21057"/>
                  </a:lnTo>
                  <a:lnTo>
                    <a:pt x="4900" y="21337"/>
                  </a:lnTo>
                  <a:lnTo>
                    <a:pt x="5157" y="21600"/>
                  </a:lnTo>
                  <a:lnTo>
                    <a:pt x="5715" y="21600"/>
                  </a:lnTo>
                  <a:lnTo>
                    <a:pt x="6033" y="21031"/>
                  </a:lnTo>
                  <a:lnTo>
                    <a:pt x="6548" y="20355"/>
                  </a:lnTo>
                  <a:lnTo>
                    <a:pt x="6705" y="19796"/>
                  </a:lnTo>
                  <a:lnTo>
                    <a:pt x="6910" y="19062"/>
                  </a:lnTo>
                  <a:lnTo>
                    <a:pt x="7139" y="18519"/>
                  </a:lnTo>
                  <a:lnTo>
                    <a:pt x="7301" y="17868"/>
                  </a:lnTo>
                  <a:lnTo>
                    <a:pt x="7390" y="17406"/>
                  </a:lnTo>
                  <a:lnTo>
                    <a:pt x="7761" y="16591"/>
                  </a:lnTo>
                  <a:cubicBezTo>
                    <a:pt x="7873" y="16404"/>
                    <a:pt x="7997" y="16246"/>
                    <a:pt x="8131" y="16121"/>
                  </a:cubicBezTo>
                  <a:cubicBezTo>
                    <a:pt x="8328" y="15937"/>
                    <a:pt x="8542" y="15828"/>
                    <a:pt x="8761" y="15801"/>
                  </a:cubicBezTo>
                  <a:lnTo>
                    <a:pt x="9305" y="15727"/>
                  </a:lnTo>
                  <a:cubicBezTo>
                    <a:pt x="9405" y="15710"/>
                    <a:pt x="9504" y="15685"/>
                    <a:pt x="9603" y="15652"/>
                  </a:cubicBezTo>
                  <a:cubicBezTo>
                    <a:pt x="9812" y="15583"/>
                    <a:pt x="10017" y="15478"/>
                    <a:pt x="10216" y="15339"/>
                  </a:cubicBezTo>
                  <a:cubicBezTo>
                    <a:pt x="10289" y="15303"/>
                    <a:pt x="10361" y="15262"/>
                    <a:pt x="10433" y="15215"/>
                  </a:cubicBezTo>
                  <a:cubicBezTo>
                    <a:pt x="10645" y="15077"/>
                    <a:pt x="10849" y="14891"/>
                    <a:pt x="11040" y="14663"/>
                  </a:cubicBezTo>
                  <a:lnTo>
                    <a:pt x="11355" y="14177"/>
                  </a:lnTo>
                  <a:lnTo>
                    <a:pt x="11891" y="13522"/>
                  </a:lnTo>
                  <a:lnTo>
                    <a:pt x="12235" y="13078"/>
                  </a:lnTo>
                  <a:lnTo>
                    <a:pt x="12847" y="13004"/>
                  </a:lnTo>
                  <a:lnTo>
                    <a:pt x="13102" y="13144"/>
                  </a:lnTo>
                  <a:lnTo>
                    <a:pt x="13519" y="13218"/>
                  </a:lnTo>
                  <a:lnTo>
                    <a:pt x="13829" y="13053"/>
                  </a:lnTo>
                  <a:lnTo>
                    <a:pt x="14271" y="12814"/>
                  </a:lnTo>
                  <a:lnTo>
                    <a:pt x="14663" y="12566"/>
                  </a:lnTo>
                  <a:lnTo>
                    <a:pt x="15084" y="12467"/>
                  </a:lnTo>
                  <a:lnTo>
                    <a:pt x="15497" y="12402"/>
                  </a:lnTo>
                  <a:lnTo>
                    <a:pt x="15854" y="12327"/>
                  </a:lnTo>
                  <a:lnTo>
                    <a:pt x="16108" y="12327"/>
                  </a:lnTo>
                  <a:lnTo>
                    <a:pt x="16138" y="11701"/>
                  </a:lnTo>
                  <a:lnTo>
                    <a:pt x="15849" y="11379"/>
                  </a:lnTo>
                  <a:cubicBezTo>
                    <a:pt x="15736" y="11393"/>
                    <a:pt x="15622" y="11407"/>
                    <a:pt x="15509" y="11420"/>
                  </a:cubicBezTo>
                  <a:cubicBezTo>
                    <a:pt x="15303" y="11445"/>
                    <a:pt x="15098" y="11470"/>
                    <a:pt x="14892" y="11494"/>
                  </a:cubicBezTo>
                  <a:lnTo>
                    <a:pt x="14740" y="11123"/>
                  </a:lnTo>
                  <a:cubicBezTo>
                    <a:pt x="14769" y="10919"/>
                    <a:pt x="14851" y="10760"/>
                    <a:pt x="14956" y="10703"/>
                  </a:cubicBezTo>
                  <a:cubicBezTo>
                    <a:pt x="15099" y="10626"/>
                    <a:pt x="15250" y="10749"/>
                    <a:pt x="15322" y="11000"/>
                  </a:cubicBezTo>
                  <a:cubicBezTo>
                    <a:pt x="15374" y="10900"/>
                    <a:pt x="15405" y="10769"/>
                    <a:pt x="15412" y="10629"/>
                  </a:cubicBezTo>
                  <a:cubicBezTo>
                    <a:pt x="15424" y="10350"/>
                    <a:pt x="15341" y="10089"/>
                    <a:pt x="15207" y="9985"/>
                  </a:cubicBezTo>
                  <a:lnTo>
                    <a:pt x="15493" y="9515"/>
                  </a:lnTo>
                  <a:cubicBezTo>
                    <a:pt x="15637" y="9640"/>
                    <a:pt x="15768" y="9813"/>
                    <a:pt x="15880" y="10027"/>
                  </a:cubicBezTo>
                  <a:cubicBezTo>
                    <a:pt x="15998" y="10251"/>
                    <a:pt x="16093" y="10517"/>
                    <a:pt x="16160" y="10810"/>
                  </a:cubicBezTo>
                  <a:lnTo>
                    <a:pt x="16658" y="11082"/>
                  </a:lnTo>
                  <a:lnTo>
                    <a:pt x="16895" y="10959"/>
                  </a:lnTo>
                  <a:lnTo>
                    <a:pt x="17018" y="10515"/>
                  </a:lnTo>
                  <a:lnTo>
                    <a:pt x="16294" y="9855"/>
                  </a:lnTo>
                  <a:lnTo>
                    <a:pt x="16103" y="9419"/>
                  </a:lnTo>
                  <a:lnTo>
                    <a:pt x="15695" y="8999"/>
                  </a:lnTo>
                  <a:lnTo>
                    <a:pt x="15487" y="8406"/>
                  </a:lnTo>
                  <a:lnTo>
                    <a:pt x="15870" y="8134"/>
                  </a:lnTo>
                  <a:lnTo>
                    <a:pt x="16533" y="8547"/>
                  </a:lnTo>
                  <a:cubicBezTo>
                    <a:pt x="16596" y="8499"/>
                    <a:pt x="16659" y="8450"/>
                    <a:pt x="16721" y="8398"/>
                  </a:cubicBezTo>
                  <a:cubicBezTo>
                    <a:pt x="16929" y="8224"/>
                    <a:pt x="17132" y="8026"/>
                    <a:pt x="17328" y="7805"/>
                  </a:cubicBezTo>
                  <a:lnTo>
                    <a:pt x="17788" y="7319"/>
                  </a:lnTo>
                  <a:lnTo>
                    <a:pt x="18210" y="6429"/>
                  </a:lnTo>
                  <a:lnTo>
                    <a:pt x="18235" y="5884"/>
                  </a:lnTo>
                  <a:cubicBezTo>
                    <a:pt x="18303" y="5655"/>
                    <a:pt x="18399" y="5463"/>
                    <a:pt x="18515" y="5325"/>
                  </a:cubicBezTo>
                  <a:cubicBezTo>
                    <a:pt x="18632" y="5186"/>
                    <a:pt x="18765" y="5106"/>
                    <a:pt x="18902" y="5094"/>
                  </a:cubicBezTo>
                  <a:lnTo>
                    <a:pt x="18902" y="4509"/>
                  </a:lnTo>
                  <a:lnTo>
                    <a:pt x="18817" y="4263"/>
                  </a:lnTo>
                  <a:lnTo>
                    <a:pt x="18746" y="3869"/>
                  </a:lnTo>
                  <a:lnTo>
                    <a:pt x="18880" y="3190"/>
                  </a:lnTo>
                  <a:lnTo>
                    <a:pt x="19186" y="2499"/>
                  </a:lnTo>
                  <a:lnTo>
                    <a:pt x="19696" y="2178"/>
                  </a:lnTo>
                  <a:lnTo>
                    <a:pt x="20121" y="2202"/>
                  </a:lnTo>
                  <a:lnTo>
                    <a:pt x="20414" y="1856"/>
                  </a:lnTo>
                  <a:lnTo>
                    <a:pt x="21001" y="1881"/>
                  </a:lnTo>
                  <a:cubicBezTo>
                    <a:pt x="21065" y="1886"/>
                    <a:pt x="21130" y="1860"/>
                    <a:pt x="21188" y="1807"/>
                  </a:cubicBezTo>
                  <a:cubicBezTo>
                    <a:pt x="21269" y="1732"/>
                    <a:pt x="21335" y="1607"/>
                    <a:pt x="21375" y="1452"/>
                  </a:cubicBezTo>
                  <a:lnTo>
                    <a:pt x="21591" y="1348"/>
                  </a:lnTo>
                  <a:lnTo>
                    <a:pt x="21600" y="1011"/>
                  </a:lnTo>
                  <a:lnTo>
                    <a:pt x="21150" y="975"/>
                  </a:lnTo>
                  <a:cubicBezTo>
                    <a:pt x="20995" y="1003"/>
                    <a:pt x="20843" y="1062"/>
                    <a:pt x="20694" y="1151"/>
                  </a:cubicBezTo>
                  <a:cubicBezTo>
                    <a:pt x="20557" y="1233"/>
                    <a:pt x="20423" y="1342"/>
                    <a:pt x="20282" y="1390"/>
                  </a:cubicBezTo>
                  <a:cubicBezTo>
                    <a:pt x="20093" y="1454"/>
                    <a:pt x="19900" y="1411"/>
                    <a:pt x="19724" y="1265"/>
                  </a:cubicBezTo>
                  <a:cubicBezTo>
                    <a:pt x="19577" y="1262"/>
                    <a:pt x="19430" y="1212"/>
                    <a:pt x="19291" y="1117"/>
                  </a:cubicBezTo>
                  <a:cubicBezTo>
                    <a:pt x="19095" y="983"/>
                    <a:pt x="18917" y="763"/>
                    <a:pt x="18772" y="474"/>
                  </a:cubicBezTo>
                  <a:lnTo>
                    <a:pt x="18083" y="0"/>
                  </a:lnTo>
                  <a:lnTo>
                    <a:pt x="16508" y="3"/>
                  </a:lnTo>
                  <a:lnTo>
                    <a:pt x="15693" y="275"/>
                  </a:lnTo>
                  <a:lnTo>
                    <a:pt x="14944" y="531"/>
                  </a:lnTo>
                  <a:lnTo>
                    <a:pt x="14463" y="291"/>
                  </a:lnTo>
                  <a:lnTo>
                    <a:pt x="13875" y="143"/>
                  </a:lnTo>
                  <a:lnTo>
                    <a:pt x="13340" y="291"/>
                  </a:lnTo>
                  <a:lnTo>
                    <a:pt x="12195" y="653"/>
                  </a:lnTo>
                  <a:lnTo>
                    <a:pt x="10633" y="1133"/>
                  </a:lnTo>
                  <a:lnTo>
                    <a:pt x="9702" y="1133"/>
                  </a:lnTo>
                  <a:lnTo>
                    <a:pt x="8978" y="1388"/>
                  </a:lnTo>
                  <a:lnTo>
                    <a:pt x="8396" y="1388"/>
                  </a:lnTo>
                  <a:lnTo>
                    <a:pt x="7809" y="1141"/>
                  </a:lnTo>
                  <a:lnTo>
                    <a:pt x="7009" y="1092"/>
                  </a:lnTo>
                  <a:lnTo>
                    <a:pt x="6559" y="1002"/>
                  </a:lnTo>
                  <a:lnTo>
                    <a:pt x="5776" y="1002"/>
                  </a:lnTo>
                  <a:lnTo>
                    <a:pt x="5285" y="1142"/>
                  </a:lnTo>
                  <a:lnTo>
                    <a:pt x="4570" y="1596"/>
                  </a:lnTo>
                  <a:close/>
                </a:path>
              </a:pathLst>
            </a:custGeom>
            <a:grpFill/>
            <a:ln w="25400" cap="flat">
              <a:noFill/>
              <a:prstDash val="solid"/>
              <a:miter lim="400000"/>
            </a:ln>
            <a:effectLst/>
          </p:spPr>
          <p:txBody>
            <a:bodyPr anchor="ctr"/>
            <a:lstStyle/>
            <a:p>
              <a:pPr algn="ctr"/>
              <a:endParaRPr/>
            </a:p>
          </p:txBody>
        </p:sp>
        <p:sp>
          <p:nvSpPr>
            <p:cNvPr id="22" name="ïşḻiďe">
              <a:extLst>
                <a:ext uri="{FF2B5EF4-FFF2-40B4-BE49-F238E27FC236}">
                  <a16:creationId xmlns:a16="http://schemas.microsoft.com/office/drawing/2014/main" id="{D74D93F2-C926-4F37-8A68-969D36217418}"/>
                </a:ext>
              </a:extLst>
            </p:cNvPr>
            <p:cNvSpPr/>
            <p:nvPr/>
          </p:nvSpPr>
          <p:spPr>
            <a:xfrm>
              <a:off x="3479660" y="1494826"/>
              <a:ext cx="530890" cy="368947"/>
            </a:xfrm>
            <a:custGeom>
              <a:avLst/>
              <a:gdLst/>
              <a:ahLst/>
              <a:cxnLst>
                <a:cxn ang="0">
                  <a:pos x="wd2" y="hd2"/>
                </a:cxn>
                <a:cxn ang="5400000">
                  <a:pos x="wd2" y="hd2"/>
                </a:cxn>
                <a:cxn ang="10800000">
                  <a:pos x="wd2" y="hd2"/>
                </a:cxn>
                <a:cxn ang="16200000">
                  <a:pos x="wd2" y="hd2"/>
                </a:cxn>
              </a:cxnLst>
              <a:rect l="0" t="0" r="r" b="b"/>
              <a:pathLst>
                <a:path w="21600" h="21600" extrusionOk="0">
                  <a:moveTo>
                    <a:pt x="8021" y="593"/>
                  </a:moveTo>
                  <a:lnTo>
                    <a:pt x="7339" y="943"/>
                  </a:lnTo>
                  <a:lnTo>
                    <a:pt x="6138" y="1776"/>
                  </a:lnTo>
                  <a:lnTo>
                    <a:pt x="5808" y="2763"/>
                  </a:lnTo>
                  <a:lnTo>
                    <a:pt x="5092" y="3323"/>
                  </a:lnTo>
                  <a:cubicBezTo>
                    <a:pt x="4981" y="3552"/>
                    <a:pt x="4794" y="3681"/>
                    <a:pt x="4600" y="3663"/>
                  </a:cubicBezTo>
                  <a:cubicBezTo>
                    <a:pt x="4347" y="3639"/>
                    <a:pt x="4136" y="3380"/>
                    <a:pt x="4082" y="3027"/>
                  </a:cubicBezTo>
                  <a:lnTo>
                    <a:pt x="4399" y="1979"/>
                  </a:lnTo>
                  <a:lnTo>
                    <a:pt x="5690" y="798"/>
                  </a:lnTo>
                  <a:lnTo>
                    <a:pt x="5100" y="0"/>
                  </a:lnTo>
                  <a:cubicBezTo>
                    <a:pt x="4899" y="133"/>
                    <a:pt x="4693" y="250"/>
                    <a:pt x="4483" y="350"/>
                  </a:cubicBezTo>
                  <a:cubicBezTo>
                    <a:pt x="4069" y="547"/>
                    <a:pt x="3640" y="676"/>
                    <a:pt x="3206" y="735"/>
                  </a:cubicBezTo>
                  <a:lnTo>
                    <a:pt x="2729" y="1223"/>
                  </a:lnTo>
                  <a:lnTo>
                    <a:pt x="1867" y="1975"/>
                  </a:lnTo>
                  <a:lnTo>
                    <a:pt x="1287" y="3024"/>
                  </a:lnTo>
                  <a:lnTo>
                    <a:pt x="765" y="3246"/>
                  </a:lnTo>
                  <a:lnTo>
                    <a:pt x="240" y="4131"/>
                  </a:lnTo>
                  <a:lnTo>
                    <a:pt x="0" y="4706"/>
                  </a:lnTo>
                  <a:lnTo>
                    <a:pt x="488" y="5355"/>
                  </a:lnTo>
                  <a:lnTo>
                    <a:pt x="1157" y="5843"/>
                  </a:lnTo>
                  <a:lnTo>
                    <a:pt x="1737" y="6153"/>
                  </a:lnTo>
                  <a:lnTo>
                    <a:pt x="2377" y="6286"/>
                  </a:lnTo>
                  <a:lnTo>
                    <a:pt x="3276" y="6064"/>
                  </a:lnTo>
                  <a:lnTo>
                    <a:pt x="4259" y="5754"/>
                  </a:lnTo>
                  <a:lnTo>
                    <a:pt x="5354" y="6094"/>
                  </a:lnTo>
                  <a:lnTo>
                    <a:pt x="6511" y="6183"/>
                  </a:lnTo>
                  <a:lnTo>
                    <a:pt x="7184" y="6626"/>
                  </a:lnTo>
                  <a:cubicBezTo>
                    <a:pt x="7405" y="6541"/>
                    <a:pt x="7623" y="6437"/>
                    <a:pt x="7835" y="6316"/>
                  </a:cubicBezTo>
                  <a:cubicBezTo>
                    <a:pt x="8220" y="6096"/>
                    <a:pt x="8587" y="5819"/>
                    <a:pt x="8931" y="5490"/>
                  </a:cubicBezTo>
                  <a:lnTo>
                    <a:pt x="9355" y="5312"/>
                  </a:lnTo>
                  <a:lnTo>
                    <a:pt x="9932" y="5575"/>
                  </a:lnTo>
                  <a:lnTo>
                    <a:pt x="10644" y="6240"/>
                  </a:lnTo>
                  <a:lnTo>
                    <a:pt x="11141" y="6846"/>
                  </a:lnTo>
                  <a:lnTo>
                    <a:pt x="12060" y="7539"/>
                  </a:lnTo>
                  <a:lnTo>
                    <a:pt x="12619" y="8736"/>
                  </a:lnTo>
                  <a:lnTo>
                    <a:pt x="13095" y="10006"/>
                  </a:lnTo>
                  <a:lnTo>
                    <a:pt x="13435" y="11054"/>
                  </a:lnTo>
                  <a:lnTo>
                    <a:pt x="14056" y="11586"/>
                  </a:lnTo>
                  <a:lnTo>
                    <a:pt x="14914" y="12148"/>
                  </a:lnTo>
                  <a:lnTo>
                    <a:pt x="14833" y="12869"/>
                  </a:lnTo>
                  <a:lnTo>
                    <a:pt x="14379" y="13177"/>
                  </a:lnTo>
                  <a:lnTo>
                    <a:pt x="13740" y="13602"/>
                  </a:lnTo>
                  <a:lnTo>
                    <a:pt x="12986" y="13647"/>
                  </a:lnTo>
                  <a:lnTo>
                    <a:pt x="12638" y="13264"/>
                  </a:lnTo>
                  <a:lnTo>
                    <a:pt x="11587" y="13042"/>
                  </a:lnTo>
                  <a:lnTo>
                    <a:pt x="10513" y="13484"/>
                  </a:lnTo>
                  <a:lnTo>
                    <a:pt x="9841" y="14502"/>
                  </a:lnTo>
                  <a:lnTo>
                    <a:pt x="9564" y="15162"/>
                  </a:lnTo>
                  <a:lnTo>
                    <a:pt x="9078" y="15545"/>
                  </a:lnTo>
                  <a:lnTo>
                    <a:pt x="7809" y="15678"/>
                  </a:lnTo>
                  <a:lnTo>
                    <a:pt x="6983" y="15367"/>
                  </a:lnTo>
                  <a:lnTo>
                    <a:pt x="6084" y="15147"/>
                  </a:lnTo>
                  <a:lnTo>
                    <a:pt x="5096" y="15369"/>
                  </a:lnTo>
                  <a:lnTo>
                    <a:pt x="4413" y="16019"/>
                  </a:lnTo>
                  <a:lnTo>
                    <a:pt x="5045" y="16668"/>
                  </a:lnTo>
                  <a:lnTo>
                    <a:pt x="6285" y="16934"/>
                  </a:lnTo>
                  <a:lnTo>
                    <a:pt x="7287" y="16420"/>
                  </a:lnTo>
                  <a:lnTo>
                    <a:pt x="8059" y="16243"/>
                  </a:lnTo>
                  <a:lnTo>
                    <a:pt x="9091" y="16300"/>
                  </a:lnTo>
                  <a:lnTo>
                    <a:pt x="9462" y="16921"/>
                  </a:lnTo>
                  <a:lnTo>
                    <a:pt x="9564" y="17355"/>
                  </a:lnTo>
                  <a:lnTo>
                    <a:pt x="9891" y="18150"/>
                  </a:lnTo>
                  <a:lnTo>
                    <a:pt x="10014" y="18797"/>
                  </a:lnTo>
                  <a:lnTo>
                    <a:pt x="10439" y="19327"/>
                  </a:lnTo>
                  <a:lnTo>
                    <a:pt x="10902" y="19443"/>
                  </a:lnTo>
                  <a:lnTo>
                    <a:pt x="12019" y="20417"/>
                  </a:lnTo>
                  <a:lnTo>
                    <a:pt x="12722" y="21245"/>
                  </a:lnTo>
                  <a:lnTo>
                    <a:pt x="14241" y="21600"/>
                  </a:lnTo>
                  <a:lnTo>
                    <a:pt x="14643" y="21336"/>
                  </a:lnTo>
                  <a:lnTo>
                    <a:pt x="15294" y="20804"/>
                  </a:lnTo>
                  <a:cubicBezTo>
                    <a:pt x="15170" y="20619"/>
                    <a:pt x="15023" y="20469"/>
                    <a:pt x="14861" y="20360"/>
                  </a:cubicBezTo>
                  <a:cubicBezTo>
                    <a:pt x="14623" y="20200"/>
                    <a:pt x="14358" y="20132"/>
                    <a:pt x="14128" y="19948"/>
                  </a:cubicBezTo>
                  <a:cubicBezTo>
                    <a:pt x="13879" y="19749"/>
                    <a:pt x="13688" y="19429"/>
                    <a:pt x="13590" y="19046"/>
                  </a:cubicBezTo>
                  <a:lnTo>
                    <a:pt x="13158" y="18532"/>
                  </a:lnTo>
                  <a:lnTo>
                    <a:pt x="13427" y="18017"/>
                  </a:lnTo>
                  <a:lnTo>
                    <a:pt x="14110" y="18105"/>
                  </a:lnTo>
                  <a:lnTo>
                    <a:pt x="14793" y="18460"/>
                  </a:lnTo>
                  <a:lnTo>
                    <a:pt x="15377" y="18697"/>
                  </a:lnTo>
                  <a:lnTo>
                    <a:pt x="15778" y="19005"/>
                  </a:lnTo>
                  <a:lnTo>
                    <a:pt x="16295" y="19094"/>
                  </a:lnTo>
                  <a:lnTo>
                    <a:pt x="16532" y="18785"/>
                  </a:lnTo>
                  <a:lnTo>
                    <a:pt x="16863" y="17974"/>
                  </a:lnTo>
                  <a:lnTo>
                    <a:pt x="16832" y="16720"/>
                  </a:lnTo>
                  <a:lnTo>
                    <a:pt x="16410" y="15436"/>
                  </a:lnTo>
                  <a:lnTo>
                    <a:pt x="16038" y="14519"/>
                  </a:lnTo>
                  <a:lnTo>
                    <a:pt x="16348" y="13987"/>
                  </a:lnTo>
                  <a:lnTo>
                    <a:pt x="17092" y="13263"/>
                  </a:lnTo>
                  <a:lnTo>
                    <a:pt x="17959" y="13751"/>
                  </a:lnTo>
                  <a:cubicBezTo>
                    <a:pt x="18224" y="13919"/>
                    <a:pt x="18489" y="14087"/>
                    <a:pt x="18755" y="14253"/>
                  </a:cubicBezTo>
                  <a:cubicBezTo>
                    <a:pt x="19010" y="14412"/>
                    <a:pt x="19265" y="14570"/>
                    <a:pt x="19521" y="14726"/>
                  </a:cubicBezTo>
                  <a:lnTo>
                    <a:pt x="20059" y="14800"/>
                  </a:lnTo>
                  <a:cubicBezTo>
                    <a:pt x="20261" y="14738"/>
                    <a:pt x="20456" y="14633"/>
                    <a:pt x="20638" y="14490"/>
                  </a:cubicBezTo>
                  <a:cubicBezTo>
                    <a:pt x="21053" y="14162"/>
                    <a:pt x="21380" y="13647"/>
                    <a:pt x="21569" y="13026"/>
                  </a:cubicBezTo>
                  <a:lnTo>
                    <a:pt x="21600" y="12364"/>
                  </a:lnTo>
                  <a:lnTo>
                    <a:pt x="20876" y="11537"/>
                  </a:lnTo>
                  <a:lnTo>
                    <a:pt x="20172" y="11271"/>
                  </a:lnTo>
                  <a:cubicBezTo>
                    <a:pt x="19977" y="10989"/>
                    <a:pt x="19782" y="10709"/>
                    <a:pt x="19585" y="10430"/>
                  </a:cubicBezTo>
                  <a:cubicBezTo>
                    <a:pt x="19314" y="10044"/>
                    <a:pt x="19041" y="9659"/>
                    <a:pt x="18768" y="9277"/>
                  </a:cubicBezTo>
                  <a:lnTo>
                    <a:pt x="18552" y="8352"/>
                  </a:lnTo>
                  <a:lnTo>
                    <a:pt x="18707" y="7850"/>
                  </a:lnTo>
                  <a:lnTo>
                    <a:pt x="18707" y="7053"/>
                  </a:lnTo>
                  <a:lnTo>
                    <a:pt x="18460" y="6506"/>
                  </a:lnTo>
                  <a:lnTo>
                    <a:pt x="17665" y="6018"/>
                  </a:lnTo>
                  <a:lnTo>
                    <a:pt x="16139" y="5357"/>
                  </a:lnTo>
                  <a:lnTo>
                    <a:pt x="15519" y="4734"/>
                  </a:lnTo>
                  <a:lnTo>
                    <a:pt x="14962" y="3542"/>
                  </a:lnTo>
                  <a:lnTo>
                    <a:pt x="14662" y="2965"/>
                  </a:lnTo>
                  <a:lnTo>
                    <a:pt x="14176" y="2226"/>
                  </a:lnTo>
                  <a:lnTo>
                    <a:pt x="13369" y="2581"/>
                  </a:lnTo>
                  <a:lnTo>
                    <a:pt x="12408" y="3126"/>
                  </a:lnTo>
                  <a:lnTo>
                    <a:pt x="11913" y="2771"/>
                  </a:lnTo>
                  <a:cubicBezTo>
                    <a:pt x="11698" y="2567"/>
                    <a:pt x="11484" y="2360"/>
                    <a:pt x="11271" y="2150"/>
                  </a:cubicBezTo>
                  <a:cubicBezTo>
                    <a:pt x="11036" y="1918"/>
                    <a:pt x="10801" y="1682"/>
                    <a:pt x="10569" y="1443"/>
                  </a:cubicBezTo>
                  <a:lnTo>
                    <a:pt x="9607" y="777"/>
                  </a:lnTo>
                  <a:lnTo>
                    <a:pt x="9009" y="497"/>
                  </a:lnTo>
                  <a:lnTo>
                    <a:pt x="8021" y="593"/>
                  </a:lnTo>
                  <a:close/>
                </a:path>
              </a:pathLst>
            </a:custGeom>
            <a:grpFill/>
            <a:ln w="25400" cap="flat">
              <a:noFill/>
              <a:prstDash val="solid"/>
              <a:miter lim="400000"/>
            </a:ln>
            <a:effectLst/>
          </p:spPr>
          <p:txBody>
            <a:bodyPr anchor="ctr"/>
            <a:lstStyle/>
            <a:p>
              <a:pPr algn="ctr"/>
              <a:endParaRPr/>
            </a:p>
          </p:txBody>
        </p:sp>
        <p:sp>
          <p:nvSpPr>
            <p:cNvPr id="23" name="íşļîde">
              <a:extLst>
                <a:ext uri="{FF2B5EF4-FFF2-40B4-BE49-F238E27FC236}">
                  <a16:creationId xmlns:a16="http://schemas.microsoft.com/office/drawing/2014/main" id="{445D0311-F6BD-421B-BD6E-606E6FEECE21}"/>
                </a:ext>
              </a:extLst>
            </p:cNvPr>
            <p:cNvSpPr/>
            <p:nvPr/>
          </p:nvSpPr>
          <p:spPr>
            <a:xfrm>
              <a:off x="3367978" y="1754955"/>
              <a:ext cx="134323" cy="63225"/>
            </a:xfrm>
            <a:custGeom>
              <a:avLst/>
              <a:gdLst/>
              <a:ahLst/>
              <a:cxnLst>
                <a:cxn ang="0">
                  <a:pos x="wd2" y="hd2"/>
                </a:cxn>
                <a:cxn ang="5400000">
                  <a:pos x="wd2" y="hd2"/>
                </a:cxn>
                <a:cxn ang="10800000">
                  <a:pos x="wd2" y="hd2"/>
                </a:cxn>
                <a:cxn ang="16200000">
                  <a:pos x="wd2" y="hd2"/>
                </a:cxn>
              </a:cxnLst>
              <a:rect l="0" t="0" r="r" b="b"/>
              <a:pathLst>
                <a:path w="21486" h="21600" extrusionOk="0">
                  <a:moveTo>
                    <a:pt x="14288" y="2825"/>
                  </a:moveTo>
                  <a:lnTo>
                    <a:pt x="10337" y="0"/>
                  </a:lnTo>
                  <a:lnTo>
                    <a:pt x="6944" y="635"/>
                  </a:lnTo>
                  <a:lnTo>
                    <a:pt x="4261" y="5531"/>
                  </a:lnTo>
                  <a:lnTo>
                    <a:pt x="923" y="10880"/>
                  </a:lnTo>
                  <a:lnTo>
                    <a:pt x="0" y="13544"/>
                  </a:lnTo>
                  <a:lnTo>
                    <a:pt x="505" y="17480"/>
                  </a:lnTo>
                  <a:lnTo>
                    <a:pt x="3926" y="18763"/>
                  </a:lnTo>
                  <a:lnTo>
                    <a:pt x="6234" y="16694"/>
                  </a:lnTo>
                  <a:lnTo>
                    <a:pt x="9366" y="14882"/>
                  </a:lnTo>
                  <a:cubicBezTo>
                    <a:pt x="10482" y="14254"/>
                    <a:pt x="11657" y="14254"/>
                    <a:pt x="12773" y="14882"/>
                  </a:cubicBezTo>
                  <a:cubicBezTo>
                    <a:pt x="14008" y="15576"/>
                    <a:pt x="15124" y="17010"/>
                    <a:pt x="15986" y="19012"/>
                  </a:cubicBezTo>
                  <a:lnTo>
                    <a:pt x="19647" y="21600"/>
                  </a:lnTo>
                  <a:cubicBezTo>
                    <a:pt x="20643" y="20974"/>
                    <a:pt x="21364" y="19135"/>
                    <a:pt x="21472" y="16942"/>
                  </a:cubicBezTo>
                  <a:cubicBezTo>
                    <a:pt x="21600" y="14339"/>
                    <a:pt x="20855" y="11900"/>
                    <a:pt x="19682" y="11085"/>
                  </a:cubicBezTo>
                  <a:lnTo>
                    <a:pt x="16154" y="7063"/>
                  </a:lnTo>
                  <a:lnTo>
                    <a:pt x="14288" y="2825"/>
                  </a:lnTo>
                  <a:close/>
                </a:path>
              </a:pathLst>
            </a:custGeom>
            <a:grpFill/>
            <a:ln w="25400" cap="flat">
              <a:noFill/>
              <a:prstDash val="solid"/>
              <a:miter lim="400000"/>
            </a:ln>
            <a:effectLst/>
          </p:spPr>
          <p:txBody>
            <a:bodyPr anchor="ctr"/>
            <a:lstStyle/>
            <a:p>
              <a:pPr algn="ctr"/>
              <a:endParaRPr/>
            </a:p>
          </p:txBody>
        </p:sp>
        <p:sp>
          <p:nvSpPr>
            <p:cNvPr id="24" name="í$ḷiḋe">
              <a:extLst>
                <a:ext uri="{FF2B5EF4-FFF2-40B4-BE49-F238E27FC236}">
                  <a16:creationId xmlns:a16="http://schemas.microsoft.com/office/drawing/2014/main" id="{17853E26-8C09-48D5-AACD-1675FF7D733F}"/>
                </a:ext>
              </a:extLst>
            </p:cNvPr>
            <p:cNvSpPr/>
            <p:nvPr/>
          </p:nvSpPr>
          <p:spPr>
            <a:xfrm>
              <a:off x="3798219" y="2232769"/>
              <a:ext cx="191559" cy="152338"/>
            </a:xfrm>
            <a:custGeom>
              <a:avLst/>
              <a:gdLst/>
              <a:ahLst/>
              <a:cxnLst>
                <a:cxn ang="0">
                  <a:pos x="wd2" y="hd2"/>
                </a:cxn>
                <a:cxn ang="5400000">
                  <a:pos x="wd2" y="hd2"/>
                </a:cxn>
                <a:cxn ang="10800000">
                  <a:pos x="wd2" y="hd2"/>
                </a:cxn>
                <a:cxn ang="16200000">
                  <a:pos x="wd2" y="hd2"/>
                </a:cxn>
              </a:cxnLst>
              <a:rect l="0" t="0" r="r" b="b"/>
              <a:pathLst>
                <a:path w="21600" h="21600" extrusionOk="0">
                  <a:moveTo>
                    <a:pt x="13617" y="713"/>
                  </a:moveTo>
                  <a:lnTo>
                    <a:pt x="12158" y="1430"/>
                  </a:lnTo>
                  <a:lnTo>
                    <a:pt x="10460" y="3510"/>
                  </a:lnTo>
                  <a:lnTo>
                    <a:pt x="9735" y="5219"/>
                  </a:lnTo>
                  <a:lnTo>
                    <a:pt x="8711" y="7368"/>
                  </a:lnTo>
                  <a:lnTo>
                    <a:pt x="6506" y="9587"/>
                  </a:lnTo>
                  <a:lnTo>
                    <a:pt x="4116" y="10124"/>
                  </a:lnTo>
                  <a:lnTo>
                    <a:pt x="3238" y="12590"/>
                  </a:lnTo>
                  <a:lnTo>
                    <a:pt x="2264" y="14703"/>
                  </a:lnTo>
                  <a:lnTo>
                    <a:pt x="112" y="15347"/>
                  </a:lnTo>
                  <a:lnTo>
                    <a:pt x="0" y="16883"/>
                  </a:lnTo>
                  <a:lnTo>
                    <a:pt x="2956" y="16668"/>
                  </a:lnTo>
                  <a:lnTo>
                    <a:pt x="4669" y="16668"/>
                  </a:lnTo>
                  <a:lnTo>
                    <a:pt x="6963" y="17384"/>
                  </a:lnTo>
                  <a:lnTo>
                    <a:pt x="8339" y="17778"/>
                  </a:lnTo>
                  <a:lnTo>
                    <a:pt x="7794" y="19707"/>
                  </a:lnTo>
                  <a:lnTo>
                    <a:pt x="8250" y="21600"/>
                  </a:lnTo>
                  <a:lnTo>
                    <a:pt x="9877" y="20459"/>
                  </a:lnTo>
                  <a:lnTo>
                    <a:pt x="9307" y="17997"/>
                  </a:lnTo>
                  <a:lnTo>
                    <a:pt x="11744" y="17389"/>
                  </a:lnTo>
                  <a:lnTo>
                    <a:pt x="13751" y="17389"/>
                  </a:lnTo>
                  <a:lnTo>
                    <a:pt x="15873" y="16529"/>
                  </a:lnTo>
                  <a:lnTo>
                    <a:pt x="18822" y="16207"/>
                  </a:lnTo>
                  <a:lnTo>
                    <a:pt x="20342" y="15240"/>
                  </a:lnTo>
                  <a:lnTo>
                    <a:pt x="21600" y="14632"/>
                  </a:lnTo>
                  <a:lnTo>
                    <a:pt x="18847" y="11235"/>
                  </a:lnTo>
                  <a:lnTo>
                    <a:pt x="17711" y="9945"/>
                  </a:lnTo>
                  <a:lnTo>
                    <a:pt x="15740" y="9095"/>
                  </a:lnTo>
                  <a:lnTo>
                    <a:pt x="13625" y="8379"/>
                  </a:lnTo>
                  <a:lnTo>
                    <a:pt x="12948" y="7206"/>
                  </a:lnTo>
                  <a:cubicBezTo>
                    <a:pt x="12674" y="6625"/>
                    <a:pt x="12582" y="5938"/>
                    <a:pt x="12690" y="5277"/>
                  </a:cubicBezTo>
                  <a:cubicBezTo>
                    <a:pt x="12841" y="4349"/>
                    <a:pt x="13359" y="3580"/>
                    <a:pt x="14066" y="3237"/>
                  </a:cubicBezTo>
                  <a:cubicBezTo>
                    <a:pt x="14497" y="2942"/>
                    <a:pt x="14876" y="2541"/>
                    <a:pt x="15181" y="2059"/>
                  </a:cubicBezTo>
                  <a:cubicBezTo>
                    <a:pt x="15444" y="1642"/>
                    <a:pt x="15646" y="1171"/>
                    <a:pt x="15779" y="667"/>
                  </a:cubicBezTo>
                  <a:lnTo>
                    <a:pt x="15098" y="0"/>
                  </a:lnTo>
                  <a:lnTo>
                    <a:pt x="13617" y="713"/>
                  </a:lnTo>
                  <a:close/>
                </a:path>
              </a:pathLst>
            </a:custGeom>
            <a:grpFill/>
            <a:ln w="25400" cap="flat">
              <a:noFill/>
              <a:prstDash val="solid"/>
              <a:miter lim="400000"/>
            </a:ln>
            <a:effectLst/>
          </p:spPr>
          <p:txBody>
            <a:bodyPr anchor="ctr"/>
            <a:lstStyle/>
            <a:p>
              <a:pPr algn="ctr"/>
              <a:endParaRPr/>
            </a:p>
          </p:txBody>
        </p:sp>
        <p:sp>
          <p:nvSpPr>
            <p:cNvPr id="25" name="iṧ1idê">
              <a:extLst>
                <a:ext uri="{FF2B5EF4-FFF2-40B4-BE49-F238E27FC236}">
                  <a16:creationId xmlns:a16="http://schemas.microsoft.com/office/drawing/2014/main" id="{2FC7C7D3-3D5A-4B25-B8C4-65DFEC339CFF}"/>
                </a:ext>
              </a:extLst>
            </p:cNvPr>
            <p:cNvSpPr/>
            <p:nvPr/>
          </p:nvSpPr>
          <p:spPr>
            <a:xfrm>
              <a:off x="3443720" y="2870076"/>
              <a:ext cx="43114" cy="31522"/>
            </a:xfrm>
            <a:custGeom>
              <a:avLst/>
              <a:gdLst/>
              <a:ahLst/>
              <a:cxnLst>
                <a:cxn ang="0">
                  <a:pos x="wd2" y="hd2"/>
                </a:cxn>
                <a:cxn ang="5400000">
                  <a:pos x="wd2" y="hd2"/>
                </a:cxn>
                <a:cxn ang="10800000">
                  <a:pos x="wd2" y="hd2"/>
                </a:cxn>
                <a:cxn ang="16200000">
                  <a:pos x="wd2" y="hd2"/>
                </a:cxn>
              </a:cxnLst>
              <a:rect l="0" t="0" r="r" b="b"/>
              <a:pathLst>
                <a:path w="21600" h="21600" extrusionOk="0">
                  <a:moveTo>
                    <a:pt x="9449" y="0"/>
                  </a:moveTo>
                  <a:lnTo>
                    <a:pt x="4511" y="2596"/>
                  </a:lnTo>
                  <a:lnTo>
                    <a:pt x="0" y="15912"/>
                  </a:lnTo>
                  <a:lnTo>
                    <a:pt x="12679" y="21600"/>
                  </a:lnTo>
                  <a:lnTo>
                    <a:pt x="21600" y="12688"/>
                  </a:lnTo>
                  <a:lnTo>
                    <a:pt x="9449" y="0"/>
                  </a:lnTo>
                  <a:close/>
                </a:path>
              </a:pathLst>
            </a:custGeom>
            <a:grpFill/>
            <a:ln w="25400" cap="flat">
              <a:noFill/>
              <a:prstDash val="solid"/>
              <a:miter lim="400000"/>
            </a:ln>
            <a:effectLst/>
          </p:spPr>
          <p:txBody>
            <a:bodyPr anchor="ctr"/>
            <a:lstStyle/>
            <a:p>
              <a:pPr algn="ctr"/>
              <a:endParaRPr/>
            </a:p>
          </p:txBody>
        </p:sp>
        <p:sp>
          <p:nvSpPr>
            <p:cNvPr id="26" name="ïSḻîḑe">
              <a:extLst>
                <a:ext uri="{FF2B5EF4-FFF2-40B4-BE49-F238E27FC236}">
                  <a16:creationId xmlns:a16="http://schemas.microsoft.com/office/drawing/2014/main" id="{BA499F17-EDE7-4A01-859E-F3ED34209FB3}"/>
                </a:ext>
              </a:extLst>
            </p:cNvPr>
            <p:cNvSpPr/>
            <p:nvPr/>
          </p:nvSpPr>
          <p:spPr>
            <a:xfrm>
              <a:off x="2721842" y="3238975"/>
              <a:ext cx="336007" cy="120179"/>
            </a:xfrm>
            <a:custGeom>
              <a:avLst/>
              <a:gdLst/>
              <a:ahLst/>
              <a:cxnLst>
                <a:cxn ang="0">
                  <a:pos x="wd2" y="hd2"/>
                </a:cxn>
                <a:cxn ang="5400000">
                  <a:pos x="wd2" y="hd2"/>
                </a:cxn>
                <a:cxn ang="10800000">
                  <a:pos x="wd2" y="hd2"/>
                </a:cxn>
                <a:cxn ang="16200000">
                  <a:pos x="wd2" y="hd2"/>
                </a:cxn>
              </a:cxnLst>
              <a:rect l="0" t="0" r="r" b="b"/>
              <a:pathLst>
                <a:path w="21600" h="21424" extrusionOk="0">
                  <a:moveTo>
                    <a:pt x="6693" y="0"/>
                  </a:moveTo>
                  <a:lnTo>
                    <a:pt x="3994" y="298"/>
                  </a:lnTo>
                  <a:lnTo>
                    <a:pt x="1905" y="1849"/>
                  </a:lnTo>
                  <a:lnTo>
                    <a:pt x="0" y="4685"/>
                  </a:lnTo>
                  <a:lnTo>
                    <a:pt x="3" y="8050"/>
                  </a:lnTo>
                  <a:lnTo>
                    <a:pt x="2136" y="6609"/>
                  </a:lnTo>
                  <a:lnTo>
                    <a:pt x="5761" y="4730"/>
                  </a:lnTo>
                  <a:lnTo>
                    <a:pt x="7958" y="6075"/>
                  </a:lnTo>
                  <a:lnTo>
                    <a:pt x="10066" y="8095"/>
                  </a:lnTo>
                  <a:lnTo>
                    <a:pt x="12698" y="10886"/>
                  </a:lnTo>
                  <a:lnTo>
                    <a:pt x="13431" y="13491"/>
                  </a:lnTo>
                  <a:lnTo>
                    <a:pt x="13576" y="16728"/>
                  </a:lnTo>
                  <a:lnTo>
                    <a:pt x="13202" y="18838"/>
                  </a:lnTo>
                  <a:lnTo>
                    <a:pt x="14379" y="19732"/>
                  </a:lnTo>
                  <a:lnTo>
                    <a:pt x="15587" y="19372"/>
                  </a:lnTo>
                  <a:lnTo>
                    <a:pt x="17041" y="19372"/>
                  </a:lnTo>
                  <a:lnTo>
                    <a:pt x="17973" y="20722"/>
                  </a:lnTo>
                  <a:cubicBezTo>
                    <a:pt x="18362" y="21404"/>
                    <a:pt x="18837" y="21600"/>
                    <a:pt x="19281" y="21263"/>
                  </a:cubicBezTo>
                  <a:cubicBezTo>
                    <a:pt x="19538" y="21068"/>
                    <a:pt x="19773" y="20698"/>
                    <a:pt x="19965" y="20188"/>
                  </a:cubicBezTo>
                  <a:lnTo>
                    <a:pt x="20995" y="19018"/>
                  </a:lnTo>
                  <a:lnTo>
                    <a:pt x="21584" y="18883"/>
                  </a:lnTo>
                  <a:lnTo>
                    <a:pt x="21600" y="16502"/>
                  </a:lnTo>
                  <a:lnTo>
                    <a:pt x="20145" y="14116"/>
                  </a:lnTo>
                  <a:cubicBezTo>
                    <a:pt x="19497" y="13439"/>
                    <a:pt x="18849" y="12764"/>
                    <a:pt x="18200" y="12091"/>
                  </a:cubicBezTo>
                  <a:cubicBezTo>
                    <a:pt x="17606" y="11474"/>
                    <a:pt x="17013" y="10859"/>
                    <a:pt x="16418" y="10245"/>
                  </a:cubicBezTo>
                  <a:lnTo>
                    <a:pt x="14034" y="5974"/>
                  </a:lnTo>
                  <a:lnTo>
                    <a:pt x="11880" y="2378"/>
                  </a:lnTo>
                  <a:lnTo>
                    <a:pt x="9839" y="1348"/>
                  </a:lnTo>
                  <a:lnTo>
                    <a:pt x="8476" y="678"/>
                  </a:lnTo>
                  <a:lnTo>
                    <a:pt x="6693" y="0"/>
                  </a:lnTo>
                  <a:close/>
                </a:path>
              </a:pathLst>
            </a:custGeom>
            <a:grpFill/>
            <a:ln w="25400" cap="flat">
              <a:noFill/>
              <a:prstDash val="solid"/>
              <a:miter lim="400000"/>
            </a:ln>
            <a:effectLst/>
          </p:spPr>
          <p:txBody>
            <a:bodyPr anchor="ctr"/>
            <a:lstStyle/>
            <a:p>
              <a:pPr algn="ctr"/>
              <a:endParaRPr/>
            </a:p>
          </p:txBody>
        </p:sp>
        <p:sp>
          <p:nvSpPr>
            <p:cNvPr id="27" name="ïşļïďè">
              <a:extLst>
                <a:ext uri="{FF2B5EF4-FFF2-40B4-BE49-F238E27FC236}">
                  <a16:creationId xmlns:a16="http://schemas.microsoft.com/office/drawing/2014/main" id="{4FC0A732-DF91-478F-A226-C08335DAC6D8}"/>
                </a:ext>
              </a:extLst>
            </p:cNvPr>
            <p:cNvSpPr/>
            <p:nvPr/>
          </p:nvSpPr>
          <p:spPr>
            <a:xfrm>
              <a:off x="3014633" y="3360630"/>
              <a:ext cx="222454" cy="69578"/>
            </a:xfrm>
            <a:custGeom>
              <a:avLst/>
              <a:gdLst/>
              <a:ahLst/>
              <a:cxnLst>
                <a:cxn ang="0">
                  <a:pos x="wd2" y="hd2"/>
                </a:cxn>
                <a:cxn ang="5400000">
                  <a:pos x="wd2" y="hd2"/>
                </a:cxn>
                <a:cxn ang="10800000">
                  <a:pos x="wd2" y="hd2"/>
                </a:cxn>
                <a:cxn ang="16200000">
                  <a:pos x="wd2" y="hd2"/>
                </a:cxn>
              </a:cxnLst>
              <a:rect l="0" t="0" r="r" b="b"/>
              <a:pathLst>
                <a:path w="21600" h="21321" extrusionOk="0">
                  <a:moveTo>
                    <a:pt x="8080" y="2346"/>
                  </a:moveTo>
                  <a:lnTo>
                    <a:pt x="7608" y="5248"/>
                  </a:lnTo>
                  <a:lnTo>
                    <a:pt x="9192" y="9941"/>
                  </a:lnTo>
                  <a:lnTo>
                    <a:pt x="8133" y="13268"/>
                  </a:lnTo>
                  <a:lnTo>
                    <a:pt x="6167" y="13491"/>
                  </a:lnTo>
                  <a:cubicBezTo>
                    <a:pt x="5337" y="12924"/>
                    <a:pt x="4494" y="12536"/>
                    <a:pt x="3646" y="12331"/>
                  </a:cubicBezTo>
                  <a:cubicBezTo>
                    <a:pt x="2705" y="12103"/>
                    <a:pt x="1759" y="12099"/>
                    <a:pt x="817" y="12321"/>
                  </a:cubicBezTo>
                  <a:lnTo>
                    <a:pt x="0" y="15310"/>
                  </a:lnTo>
                  <a:lnTo>
                    <a:pt x="1925" y="18019"/>
                  </a:lnTo>
                  <a:lnTo>
                    <a:pt x="4070" y="18251"/>
                  </a:lnTo>
                  <a:lnTo>
                    <a:pt x="5845" y="19877"/>
                  </a:lnTo>
                  <a:lnTo>
                    <a:pt x="7598" y="18329"/>
                  </a:lnTo>
                  <a:lnTo>
                    <a:pt x="9746" y="17400"/>
                  </a:lnTo>
                  <a:cubicBezTo>
                    <a:pt x="10130" y="18713"/>
                    <a:pt x="10602" y="19744"/>
                    <a:pt x="11128" y="20417"/>
                  </a:cubicBezTo>
                  <a:cubicBezTo>
                    <a:pt x="11927" y="21440"/>
                    <a:pt x="12812" y="21600"/>
                    <a:pt x="13644" y="20872"/>
                  </a:cubicBezTo>
                  <a:cubicBezTo>
                    <a:pt x="14104" y="19420"/>
                    <a:pt x="14627" y="18174"/>
                    <a:pt x="15196" y="17168"/>
                  </a:cubicBezTo>
                  <a:cubicBezTo>
                    <a:pt x="15866" y="15984"/>
                    <a:pt x="16591" y="15148"/>
                    <a:pt x="17341" y="14614"/>
                  </a:cubicBezTo>
                  <a:cubicBezTo>
                    <a:pt x="18005" y="14141"/>
                    <a:pt x="18684" y="13907"/>
                    <a:pt x="19365" y="13918"/>
                  </a:cubicBezTo>
                  <a:lnTo>
                    <a:pt x="20717" y="13841"/>
                  </a:lnTo>
                  <a:lnTo>
                    <a:pt x="21600" y="12215"/>
                  </a:lnTo>
                  <a:lnTo>
                    <a:pt x="21378" y="8984"/>
                  </a:lnTo>
                  <a:lnTo>
                    <a:pt x="19406" y="7282"/>
                  </a:lnTo>
                  <a:lnTo>
                    <a:pt x="18248" y="4350"/>
                  </a:lnTo>
                  <a:lnTo>
                    <a:pt x="15434" y="1333"/>
                  </a:lnTo>
                  <a:lnTo>
                    <a:pt x="12671" y="459"/>
                  </a:lnTo>
                  <a:lnTo>
                    <a:pt x="10801" y="0"/>
                  </a:lnTo>
                  <a:lnTo>
                    <a:pt x="9496" y="697"/>
                  </a:lnTo>
                  <a:lnTo>
                    <a:pt x="8080" y="2346"/>
                  </a:lnTo>
                  <a:close/>
                </a:path>
              </a:pathLst>
            </a:custGeom>
            <a:grpFill/>
            <a:ln w="25400" cap="flat">
              <a:noFill/>
              <a:prstDash val="solid"/>
              <a:miter lim="400000"/>
            </a:ln>
            <a:effectLst/>
          </p:spPr>
          <p:txBody>
            <a:bodyPr anchor="ctr"/>
            <a:lstStyle/>
            <a:p>
              <a:pPr algn="ctr"/>
              <a:endParaRPr/>
            </a:p>
          </p:txBody>
        </p:sp>
        <p:sp>
          <p:nvSpPr>
            <p:cNvPr id="28" name="ïṩliḓè">
              <a:extLst>
                <a:ext uri="{FF2B5EF4-FFF2-40B4-BE49-F238E27FC236}">
                  <a16:creationId xmlns:a16="http://schemas.microsoft.com/office/drawing/2014/main" id="{31BFF967-16B4-4465-97EB-3E25E86623AF}"/>
                </a:ext>
              </a:extLst>
            </p:cNvPr>
            <p:cNvSpPr/>
            <p:nvPr/>
          </p:nvSpPr>
          <p:spPr>
            <a:xfrm>
              <a:off x="2895033" y="3401778"/>
              <a:ext cx="72795" cy="30633"/>
            </a:xfrm>
            <a:custGeom>
              <a:avLst/>
              <a:gdLst/>
              <a:ahLst/>
              <a:cxnLst>
                <a:cxn ang="0">
                  <a:pos x="wd2" y="hd2"/>
                </a:cxn>
                <a:cxn ang="5400000">
                  <a:pos x="wd2" y="hd2"/>
                </a:cxn>
                <a:cxn ang="10800000">
                  <a:pos x="wd2" y="hd2"/>
                </a:cxn>
                <a:cxn ang="16200000">
                  <a:pos x="wd2" y="hd2"/>
                </a:cxn>
              </a:cxnLst>
              <a:rect l="0" t="0" r="r" b="b"/>
              <a:pathLst>
                <a:path w="21600" h="21600" extrusionOk="0">
                  <a:moveTo>
                    <a:pt x="9960" y="778"/>
                  </a:moveTo>
                  <a:lnTo>
                    <a:pt x="5952" y="0"/>
                  </a:lnTo>
                  <a:lnTo>
                    <a:pt x="0" y="4529"/>
                  </a:lnTo>
                  <a:lnTo>
                    <a:pt x="4023" y="14144"/>
                  </a:lnTo>
                  <a:lnTo>
                    <a:pt x="9924" y="18396"/>
                  </a:lnTo>
                  <a:lnTo>
                    <a:pt x="16715" y="21600"/>
                  </a:lnTo>
                  <a:lnTo>
                    <a:pt x="21157" y="18240"/>
                  </a:lnTo>
                  <a:lnTo>
                    <a:pt x="21600" y="11139"/>
                  </a:lnTo>
                  <a:lnTo>
                    <a:pt x="17129" y="5862"/>
                  </a:lnTo>
                  <a:lnTo>
                    <a:pt x="14054" y="2835"/>
                  </a:lnTo>
                  <a:lnTo>
                    <a:pt x="9960" y="778"/>
                  </a:lnTo>
                  <a:close/>
                </a:path>
              </a:pathLst>
            </a:custGeom>
            <a:grpFill/>
            <a:ln w="25400" cap="flat">
              <a:noFill/>
              <a:prstDash val="solid"/>
              <a:miter lim="400000"/>
            </a:ln>
            <a:effectLst/>
          </p:spPr>
          <p:txBody>
            <a:bodyPr anchor="ctr"/>
            <a:lstStyle/>
            <a:p>
              <a:pPr algn="ctr"/>
              <a:endParaRPr/>
            </a:p>
          </p:txBody>
        </p:sp>
        <p:sp>
          <p:nvSpPr>
            <p:cNvPr id="29" name="ïṥļïḍé">
              <a:extLst>
                <a:ext uri="{FF2B5EF4-FFF2-40B4-BE49-F238E27FC236}">
                  <a16:creationId xmlns:a16="http://schemas.microsoft.com/office/drawing/2014/main" id="{5217F08F-DBAE-4006-8A03-66D549042577}"/>
                </a:ext>
              </a:extLst>
            </p:cNvPr>
            <p:cNvSpPr/>
            <p:nvPr/>
          </p:nvSpPr>
          <p:spPr>
            <a:xfrm>
              <a:off x="3271035" y="3400703"/>
              <a:ext cx="56091" cy="29497"/>
            </a:xfrm>
            <a:custGeom>
              <a:avLst/>
              <a:gdLst/>
              <a:ahLst/>
              <a:cxnLst>
                <a:cxn ang="0">
                  <a:pos x="wd2" y="hd2"/>
                </a:cxn>
                <a:cxn ang="5400000">
                  <a:pos x="wd2" y="hd2"/>
                </a:cxn>
                <a:cxn ang="10800000">
                  <a:pos x="wd2" y="hd2"/>
                </a:cxn>
                <a:cxn ang="16200000">
                  <a:pos x="wd2" y="hd2"/>
                </a:cxn>
              </a:cxnLst>
              <a:rect l="0" t="0" r="r" b="b"/>
              <a:pathLst>
                <a:path w="21600" h="21600" extrusionOk="0">
                  <a:moveTo>
                    <a:pt x="12717" y="0"/>
                  </a:moveTo>
                  <a:lnTo>
                    <a:pt x="6904" y="785"/>
                  </a:lnTo>
                  <a:lnTo>
                    <a:pt x="2619" y="2158"/>
                  </a:lnTo>
                  <a:lnTo>
                    <a:pt x="0" y="9325"/>
                  </a:lnTo>
                  <a:lnTo>
                    <a:pt x="1145" y="14597"/>
                  </a:lnTo>
                  <a:cubicBezTo>
                    <a:pt x="2957" y="16107"/>
                    <a:pt x="4818" y="17397"/>
                    <a:pt x="6717" y="18458"/>
                  </a:cubicBezTo>
                  <a:cubicBezTo>
                    <a:pt x="9466" y="19994"/>
                    <a:pt x="12285" y="21046"/>
                    <a:pt x="15138" y="21600"/>
                  </a:cubicBezTo>
                  <a:lnTo>
                    <a:pt x="21600" y="11985"/>
                  </a:lnTo>
                  <a:lnTo>
                    <a:pt x="18686" y="4286"/>
                  </a:lnTo>
                  <a:lnTo>
                    <a:pt x="12717" y="0"/>
                  </a:lnTo>
                  <a:close/>
                </a:path>
              </a:pathLst>
            </a:custGeom>
            <a:grpFill/>
            <a:ln w="25400" cap="flat">
              <a:noFill/>
              <a:prstDash val="solid"/>
              <a:miter lim="400000"/>
            </a:ln>
            <a:effectLst/>
          </p:spPr>
          <p:txBody>
            <a:bodyPr anchor="ctr"/>
            <a:lstStyle/>
            <a:p>
              <a:pPr algn="ctr"/>
              <a:endParaRPr/>
            </a:p>
          </p:txBody>
        </p:sp>
        <p:sp>
          <p:nvSpPr>
            <p:cNvPr id="30" name="iśḷîḑê">
              <a:extLst>
                <a:ext uri="{FF2B5EF4-FFF2-40B4-BE49-F238E27FC236}">
                  <a16:creationId xmlns:a16="http://schemas.microsoft.com/office/drawing/2014/main" id="{4771D347-91AE-4B4C-A3E5-D65185464230}"/>
                </a:ext>
              </a:extLst>
            </p:cNvPr>
            <p:cNvSpPr/>
            <p:nvPr/>
          </p:nvSpPr>
          <p:spPr>
            <a:xfrm>
              <a:off x="3099915" y="3243765"/>
              <a:ext cx="48677" cy="29627"/>
            </a:xfrm>
            <a:custGeom>
              <a:avLst/>
              <a:gdLst/>
              <a:ahLst/>
              <a:cxnLst>
                <a:cxn ang="0">
                  <a:pos x="wd2" y="hd2"/>
                </a:cxn>
                <a:cxn ang="5400000">
                  <a:pos x="wd2" y="hd2"/>
                </a:cxn>
                <a:cxn ang="10800000">
                  <a:pos x="wd2" y="hd2"/>
                </a:cxn>
                <a:cxn ang="16200000">
                  <a:pos x="wd2" y="hd2"/>
                </a:cxn>
              </a:cxnLst>
              <a:rect l="0" t="0" r="r" b="b"/>
              <a:pathLst>
                <a:path w="21600" h="21600" extrusionOk="0">
                  <a:moveTo>
                    <a:pt x="10591" y="2096"/>
                  </a:moveTo>
                  <a:lnTo>
                    <a:pt x="5726" y="2074"/>
                  </a:lnTo>
                  <a:lnTo>
                    <a:pt x="0" y="12257"/>
                  </a:lnTo>
                  <a:lnTo>
                    <a:pt x="3941" y="21600"/>
                  </a:lnTo>
                  <a:lnTo>
                    <a:pt x="9231" y="16101"/>
                  </a:lnTo>
                  <a:lnTo>
                    <a:pt x="15549" y="13362"/>
                  </a:lnTo>
                  <a:lnTo>
                    <a:pt x="21600" y="7815"/>
                  </a:lnTo>
                  <a:lnTo>
                    <a:pt x="20020" y="727"/>
                  </a:lnTo>
                  <a:lnTo>
                    <a:pt x="15874" y="0"/>
                  </a:lnTo>
                  <a:lnTo>
                    <a:pt x="10591" y="2096"/>
                  </a:lnTo>
                  <a:close/>
                </a:path>
              </a:pathLst>
            </a:custGeom>
            <a:grpFill/>
            <a:ln w="25400" cap="flat">
              <a:noFill/>
              <a:prstDash val="solid"/>
              <a:miter lim="400000"/>
            </a:ln>
            <a:effectLst/>
          </p:spPr>
          <p:txBody>
            <a:bodyPr anchor="ctr"/>
            <a:lstStyle/>
            <a:p>
              <a:pPr algn="ctr"/>
              <a:endParaRPr/>
            </a:p>
          </p:txBody>
        </p:sp>
        <p:sp>
          <p:nvSpPr>
            <p:cNvPr id="31" name="ïşḻiḍê">
              <a:extLst>
                <a:ext uri="{FF2B5EF4-FFF2-40B4-BE49-F238E27FC236}">
                  <a16:creationId xmlns:a16="http://schemas.microsoft.com/office/drawing/2014/main" id="{A6E5D4E5-3736-418D-9570-085F848955E4}"/>
                </a:ext>
              </a:extLst>
            </p:cNvPr>
            <p:cNvSpPr/>
            <p:nvPr/>
          </p:nvSpPr>
          <p:spPr>
            <a:xfrm>
              <a:off x="3040202" y="3273501"/>
              <a:ext cx="39982" cy="19197"/>
            </a:xfrm>
            <a:custGeom>
              <a:avLst/>
              <a:gdLst/>
              <a:ahLst/>
              <a:cxnLst>
                <a:cxn ang="0">
                  <a:pos x="wd2" y="hd2"/>
                </a:cxn>
                <a:cxn ang="5400000">
                  <a:pos x="wd2" y="hd2"/>
                </a:cxn>
                <a:cxn ang="10800000">
                  <a:pos x="wd2" y="hd2"/>
                </a:cxn>
                <a:cxn ang="16200000">
                  <a:pos x="wd2" y="hd2"/>
                </a:cxn>
              </a:cxnLst>
              <a:rect l="0" t="0" r="r" b="b"/>
              <a:pathLst>
                <a:path w="21600" h="21600" extrusionOk="0">
                  <a:moveTo>
                    <a:pt x="13268" y="0"/>
                  </a:moveTo>
                  <a:lnTo>
                    <a:pt x="6280" y="4263"/>
                  </a:lnTo>
                  <a:lnTo>
                    <a:pt x="0" y="14496"/>
                  </a:lnTo>
                  <a:lnTo>
                    <a:pt x="4170" y="17941"/>
                  </a:lnTo>
                  <a:lnTo>
                    <a:pt x="13786" y="19078"/>
                  </a:lnTo>
                  <a:lnTo>
                    <a:pt x="21583" y="21600"/>
                  </a:lnTo>
                  <a:lnTo>
                    <a:pt x="21600" y="6005"/>
                  </a:lnTo>
                  <a:lnTo>
                    <a:pt x="13268" y="0"/>
                  </a:lnTo>
                  <a:close/>
                </a:path>
              </a:pathLst>
            </a:custGeom>
            <a:grpFill/>
            <a:ln w="25400" cap="flat">
              <a:noFill/>
              <a:prstDash val="solid"/>
              <a:miter lim="400000"/>
            </a:ln>
            <a:effectLst/>
          </p:spPr>
          <p:txBody>
            <a:bodyPr anchor="ctr"/>
            <a:lstStyle/>
            <a:p>
              <a:pPr algn="ctr"/>
              <a:endParaRPr/>
            </a:p>
          </p:txBody>
        </p:sp>
        <p:sp>
          <p:nvSpPr>
            <p:cNvPr id="32" name="iŝľíḑe">
              <a:extLst>
                <a:ext uri="{FF2B5EF4-FFF2-40B4-BE49-F238E27FC236}">
                  <a16:creationId xmlns:a16="http://schemas.microsoft.com/office/drawing/2014/main" id="{E271C586-03BA-433F-863D-15B3581484F5}"/>
                </a:ext>
              </a:extLst>
            </p:cNvPr>
            <p:cNvSpPr/>
            <p:nvPr/>
          </p:nvSpPr>
          <p:spPr>
            <a:xfrm>
              <a:off x="2935381" y="3141153"/>
              <a:ext cx="28333" cy="52676"/>
            </a:xfrm>
            <a:custGeom>
              <a:avLst/>
              <a:gdLst/>
              <a:ahLst/>
              <a:cxnLst>
                <a:cxn ang="0">
                  <a:pos x="wd2" y="hd2"/>
                </a:cxn>
                <a:cxn ang="5400000">
                  <a:pos x="wd2" y="hd2"/>
                </a:cxn>
                <a:cxn ang="10800000">
                  <a:pos x="wd2" y="hd2"/>
                </a:cxn>
                <a:cxn ang="16200000">
                  <a:pos x="wd2" y="hd2"/>
                </a:cxn>
              </a:cxnLst>
              <a:rect l="0" t="0" r="r" b="b"/>
              <a:pathLst>
                <a:path w="21600" h="21600" extrusionOk="0">
                  <a:moveTo>
                    <a:pt x="6366" y="0"/>
                  </a:moveTo>
                  <a:lnTo>
                    <a:pt x="15" y="2162"/>
                  </a:lnTo>
                  <a:lnTo>
                    <a:pt x="9987" y="9811"/>
                  </a:lnTo>
                  <a:lnTo>
                    <a:pt x="0" y="12733"/>
                  </a:lnTo>
                  <a:lnTo>
                    <a:pt x="12126" y="20150"/>
                  </a:lnTo>
                  <a:lnTo>
                    <a:pt x="19276" y="21600"/>
                  </a:lnTo>
                  <a:lnTo>
                    <a:pt x="21600" y="16009"/>
                  </a:lnTo>
                  <a:lnTo>
                    <a:pt x="14089" y="12940"/>
                  </a:lnTo>
                  <a:lnTo>
                    <a:pt x="16973" y="9329"/>
                  </a:lnTo>
                  <a:lnTo>
                    <a:pt x="16973" y="1873"/>
                  </a:lnTo>
                  <a:lnTo>
                    <a:pt x="6366" y="0"/>
                  </a:lnTo>
                  <a:close/>
                </a:path>
              </a:pathLst>
            </a:custGeom>
            <a:grpFill/>
            <a:ln w="25400" cap="flat">
              <a:noFill/>
              <a:prstDash val="solid"/>
              <a:miter lim="400000"/>
            </a:ln>
            <a:effectLst/>
          </p:spPr>
          <p:txBody>
            <a:bodyPr anchor="ctr"/>
            <a:lstStyle/>
            <a:p>
              <a:pPr algn="ctr"/>
              <a:endParaRPr/>
            </a:p>
          </p:txBody>
        </p:sp>
        <p:sp>
          <p:nvSpPr>
            <p:cNvPr id="33" name="íṩľíḍé">
              <a:extLst>
                <a:ext uri="{FF2B5EF4-FFF2-40B4-BE49-F238E27FC236}">
                  <a16:creationId xmlns:a16="http://schemas.microsoft.com/office/drawing/2014/main" id="{0E1FC190-E0FC-44DA-804A-1B70A43BE8C3}"/>
                </a:ext>
              </a:extLst>
            </p:cNvPr>
            <p:cNvSpPr/>
            <p:nvPr/>
          </p:nvSpPr>
          <p:spPr>
            <a:xfrm>
              <a:off x="2937717" y="3092070"/>
              <a:ext cx="33856" cy="34429"/>
            </a:xfrm>
            <a:custGeom>
              <a:avLst/>
              <a:gdLst/>
              <a:ahLst/>
              <a:cxnLst>
                <a:cxn ang="0">
                  <a:pos x="wd2" y="hd2"/>
                </a:cxn>
                <a:cxn ang="5400000">
                  <a:pos x="wd2" y="hd2"/>
                </a:cxn>
                <a:cxn ang="10800000">
                  <a:pos x="wd2" y="hd2"/>
                </a:cxn>
                <a:cxn ang="16200000">
                  <a:pos x="wd2" y="hd2"/>
                </a:cxn>
              </a:cxnLst>
              <a:rect l="0" t="0" r="r" b="b"/>
              <a:pathLst>
                <a:path w="21600" h="21600" extrusionOk="0">
                  <a:moveTo>
                    <a:pt x="2939" y="3032"/>
                  </a:moveTo>
                  <a:lnTo>
                    <a:pt x="13971" y="0"/>
                  </a:lnTo>
                  <a:lnTo>
                    <a:pt x="21600" y="3050"/>
                  </a:lnTo>
                  <a:lnTo>
                    <a:pt x="17401" y="7736"/>
                  </a:lnTo>
                  <a:lnTo>
                    <a:pt x="11620" y="11520"/>
                  </a:lnTo>
                  <a:lnTo>
                    <a:pt x="10649" y="17817"/>
                  </a:lnTo>
                  <a:lnTo>
                    <a:pt x="3854" y="21600"/>
                  </a:lnTo>
                  <a:lnTo>
                    <a:pt x="0" y="19243"/>
                  </a:lnTo>
                  <a:lnTo>
                    <a:pt x="2779" y="14669"/>
                  </a:lnTo>
                  <a:lnTo>
                    <a:pt x="6081" y="9182"/>
                  </a:lnTo>
                  <a:lnTo>
                    <a:pt x="2939" y="3032"/>
                  </a:lnTo>
                  <a:close/>
                </a:path>
              </a:pathLst>
            </a:custGeom>
            <a:grpFill/>
            <a:ln w="25400" cap="flat">
              <a:noFill/>
              <a:prstDash val="solid"/>
              <a:miter lim="400000"/>
            </a:ln>
            <a:effectLst/>
          </p:spPr>
          <p:txBody>
            <a:bodyPr anchor="ctr"/>
            <a:lstStyle/>
            <a:p>
              <a:pPr algn="ctr"/>
              <a:endParaRPr/>
            </a:p>
          </p:txBody>
        </p:sp>
        <p:sp>
          <p:nvSpPr>
            <p:cNvPr id="34" name="î$1îdé">
              <a:extLst>
                <a:ext uri="{FF2B5EF4-FFF2-40B4-BE49-F238E27FC236}">
                  <a16:creationId xmlns:a16="http://schemas.microsoft.com/office/drawing/2014/main" id="{53B281F0-FC87-4719-9DCF-3017C8B53981}"/>
                </a:ext>
              </a:extLst>
            </p:cNvPr>
            <p:cNvSpPr/>
            <p:nvPr/>
          </p:nvSpPr>
          <p:spPr>
            <a:xfrm>
              <a:off x="2983567" y="3093648"/>
              <a:ext cx="25228" cy="36298"/>
            </a:xfrm>
            <a:custGeom>
              <a:avLst/>
              <a:gdLst/>
              <a:ahLst/>
              <a:cxnLst>
                <a:cxn ang="0">
                  <a:pos x="wd2" y="hd2"/>
                </a:cxn>
                <a:cxn ang="5400000">
                  <a:pos x="wd2" y="hd2"/>
                </a:cxn>
                <a:cxn ang="10800000">
                  <a:pos x="wd2" y="hd2"/>
                </a:cxn>
                <a:cxn ang="16200000">
                  <a:pos x="wd2" y="hd2"/>
                </a:cxn>
              </a:cxnLst>
              <a:rect l="0" t="0" r="r" b="b"/>
              <a:pathLst>
                <a:path w="21600" h="21600" extrusionOk="0">
                  <a:moveTo>
                    <a:pt x="9070" y="0"/>
                  </a:moveTo>
                  <a:lnTo>
                    <a:pt x="14242" y="3737"/>
                  </a:lnTo>
                  <a:lnTo>
                    <a:pt x="21600" y="9259"/>
                  </a:lnTo>
                  <a:lnTo>
                    <a:pt x="18987" y="16321"/>
                  </a:lnTo>
                  <a:lnTo>
                    <a:pt x="8344" y="21600"/>
                  </a:lnTo>
                  <a:lnTo>
                    <a:pt x="5690" y="16490"/>
                  </a:lnTo>
                  <a:lnTo>
                    <a:pt x="2563" y="11082"/>
                  </a:lnTo>
                  <a:lnTo>
                    <a:pt x="0" y="2684"/>
                  </a:lnTo>
                  <a:lnTo>
                    <a:pt x="9070" y="0"/>
                  </a:lnTo>
                  <a:close/>
                </a:path>
              </a:pathLst>
            </a:custGeom>
            <a:grpFill/>
            <a:ln w="25400" cap="flat">
              <a:noFill/>
              <a:prstDash val="solid"/>
              <a:miter lim="400000"/>
            </a:ln>
            <a:effectLst/>
          </p:spPr>
          <p:txBody>
            <a:bodyPr anchor="ctr"/>
            <a:lstStyle/>
            <a:p>
              <a:pPr algn="ctr"/>
              <a:endParaRPr/>
            </a:p>
          </p:txBody>
        </p:sp>
        <p:sp>
          <p:nvSpPr>
            <p:cNvPr id="35" name="işļiḑe">
              <a:extLst>
                <a:ext uri="{FF2B5EF4-FFF2-40B4-BE49-F238E27FC236}">
                  <a16:creationId xmlns:a16="http://schemas.microsoft.com/office/drawing/2014/main" id="{AB11BDB7-0DC5-4CF5-8168-4CDDB0899C86}"/>
                </a:ext>
              </a:extLst>
            </p:cNvPr>
            <p:cNvSpPr/>
            <p:nvPr/>
          </p:nvSpPr>
          <p:spPr>
            <a:xfrm>
              <a:off x="2959952" y="3134535"/>
              <a:ext cx="28911" cy="16360"/>
            </a:xfrm>
            <a:custGeom>
              <a:avLst/>
              <a:gdLst/>
              <a:ahLst/>
              <a:cxnLst>
                <a:cxn ang="0">
                  <a:pos x="wd2" y="hd2"/>
                </a:cxn>
                <a:cxn ang="5400000">
                  <a:pos x="wd2" y="hd2"/>
                </a:cxn>
                <a:cxn ang="10800000">
                  <a:pos x="wd2" y="hd2"/>
                </a:cxn>
                <a:cxn ang="16200000">
                  <a:pos x="wd2" y="hd2"/>
                </a:cxn>
              </a:cxnLst>
              <a:rect l="0" t="0" r="r" b="b"/>
              <a:pathLst>
                <a:path w="21600" h="21600" extrusionOk="0">
                  <a:moveTo>
                    <a:pt x="6041" y="0"/>
                  </a:moveTo>
                  <a:lnTo>
                    <a:pt x="13043" y="2762"/>
                  </a:lnTo>
                  <a:lnTo>
                    <a:pt x="21600" y="12283"/>
                  </a:lnTo>
                  <a:lnTo>
                    <a:pt x="16470" y="21600"/>
                  </a:lnTo>
                  <a:lnTo>
                    <a:pt x="5285" y="18232"/>
                  </a:lnTo>
                  <a:lnTo>
                    <a:pt x="0" y="10410"/>
                  </a:lnTo>
                  <a:lnTo>
                    <a:pt x="6041" y="0"/>
                  </a:lnTo>
                  <a:close/>
                </a:path>
              </a:pathLst>
            </a:custGeom>
            <a:grpFill/>
            <a:ln w="25400" cap="flat">
              <a:noFill/>
              <a:prstDash val="solid"/>
              <a:miter lim="400000"/>
            </a:ln>
            <a:effectLst/>
          </p:spPr>
          <p:txBody>
            <a:bodyPr anchor="ctr"/>
            <a:lstStyle/>
            <a:p>
              <a:pPr algn="ctr"/>
              <a:endParaRPr/>
            </a:p>
          </p:txBody>
        </p:sp>
        <p:sp>
          <p:nvSpPr>
            <p:cNvPr id="36" name="íśľîdê">
              <a:extLst>
                <a:ext uri="{FF2B5EF4-FFF2-40B4-BE49-F238E27FC236}">
                  <a16:creationId xmlns:a16="http://schemas.microsoft.com/office/drawing/2014/main" id="{FC3DEF75-5BAC-470F-9293-65DB0EAB2C25}"/>
                </a:ext>
              </a:extLst>
            </p:cNvPr>
            <p:cNvSpPr/>
            <p:nvPr/>
          </p:nvSpPr>
          <p:spPr>
            <a:xfrm>
              <a:off x="3029817" y="3184357"/>
              <a:ext cx="16360" cy="24826"/>
            </a:xfrm>
            <a:custGeom>
              <a:avLst/>
              <a:gdLst/>
              <a:ahLst/>
              <a:cxnLst>
                <a:cxn ang="0">
                  <a:pos x="wd2" y="hd2"/>
                </a:cxn>
                <a:cxn ang="5400000">
                  <a:pos x="wd2" y="hd2"/>
                </a:cxn>
                <a:cxn ang="10800000">
                  <a:pos x="wd2" y="hd2"/>
                </a:cxn>
                <a:cxn ang="16200000">
                  <a:pos x="wd2" y="hd2"/>
                </a:cxn>
              </a:cxnLst>
              <a:rect l="0" t="0" r="r" b="b"/>
              <a:pathLst>
                <a:path w="21600" h="21600" extrusionOk="0">
                  <a:moveTo>
                    <a:pt x="11704" y="0"/>
                  </a:moveTo>
                  <a:lnTo>
                    <a:pt x="0" y="5659"/>
                  </a:lnTo>
                  <a:lnTo>
                    <a:pt x="2963" y="18412"/>
                  </a:lnTo>
                  <a:lnTo>
                    <a:pt x="21600" y="21600"/>
                  </a:lnTo>
                  <a:lnTo>
                    <a:pt x="21600" y="6494"/>
                  </a:lnTo>
                  <a:lnTo>
                    <a:pt x="11704" y="0"/>
                  </a:lnTo>
                  <a:close/>
                </a:path>
              </a:pathLst>
            </a:custGeom>
            <a:grpFill/>
            <a:ln w="25400" cap="flat">
              <a:noFill/>
              <a:prstDash val="solid"/>
              <a:miter lim="400000"/>
            </a:ln>
            <a:effectLst/>
          </p:spPr>
          <p:txBody>
            <a:bodyPr anchor="ctr"/>
            <a:lstStyle/>
            <a:p>
              <a:pPr algn="ctr"/>
              <a:endParaRPr/>
            </a:p>
          </p:txBody>
        </p:sp>
        <p:sp>
          <p:nvSpPr>
            <p:cNvPr id="37" name="îṧ1íďê">
              <a:extLst>
                <a:ext uri="{FF2B5EF4-FFF2-40B4-BE49-F238E27FC236}">
                  <a16:creationId xmlns:a16="http://schemas.microsoft.com/office/drawing/2014/main" id="{EBCCA40A-109F-4238-A1E1-58BD7B1680B1}"/>
                </a:ext>
              </a:extLst>
            </p:cNvPr>
            <p:cNvSpPr/>
            <p:nvPr/>
          </p:nvSpPr>
          <p:spPr>
            <a:xfrm>
              <a:off x="3034154" y="3223970"/>
              <a:ext cx="25012" cy="16370"/>
            </a:xfrm>
            <a:custGeom>
              <a:avLst/>
              <a:gdLst/>
              <a:ahLst/>
              <a:cxnLst>
                <a:cxn ang="0">
                  <a:pos x="wd2" y="hd2"/>
                </a:cxn>
                <a:cxn ang="5400000">
                  <a:pos x="wd2" y="hd2"/>
                </a:cxn>
                <a:cxn ang="10800000">
                  <a:pos x="wd2" y="hd2"/>
                </a:cxn>
                <a:cxn ang="16200000">
                  <a:pos x="wd2" y="hd2"/>
                </a:cxn>
              </a:cxnLst>
              <a:rect l="0" t="0" r="r" b="b"/>
              <a:pathLst>
                <a:path w="21600" h="21600" extrusionOk="0">
                  <a:moveTo>
                    <a:pt x="17341" y="1756"/>
                  </a:moveTo>
                  <a:lnTo>
                    <a:pt x="5869" y="0"/>
                  </a:lnTo>
                  <a:lnTo>
                    <a:pt x="0" y="5101"/>
                  </a:lnTo>
                  <a:lnTo>
                    <a:pt x="11023" y="21600"/>
                  </a:lnTo>
                  <a:lnTo>
                    <a:pt x="21600" y="19642"/>
                  </a:lnTo>
                  <a:lnTo>
                    <a:pt x="17341" y="1756"/>
                  </a:lnTo>
                  <a:close/>
                </a:path>
              </a:pathLst>
            </a:custGeom>
            <a:grpFill/>
            <a:ln w="25400" cap="flat">
              <a:noFill/>
              <a:prstDash val="solid"/>
              <a:miter lim="400000"/>
            </a:ln>
            <a:effectLst/>
          </p:spPr>
          <p:txBody>
            <a:bodyPr anchor="ctr"/>
            <a:lstStyle/>
            <a:p>
              <a:pPr algn="ctr"/>
              <a:endParaRPr/>
            </a:p>
          </p:txBody>
        </p:sp>
        <p:sp>
          <p:nvSpPr>
            <p:cNvPr id="38" name="iṥḻîḍê">
              <a:extLst>
                <a:ext uri="{FF2B5EF4-FFF2-40B4-BE49-F238E27FC236}">
                  <a16:creationId xmlns:a16="http://schemas.microsoft.com/office/drawing/2014/main" id="{4C589202-D1CE-45D5-9272-D5A4D84140BF}"/>
                </a:ext>
              </a:extLst>
            </p:cNvPr>
            <p:cNvSpPr/>
            <p:nvPr/>
          </p:nvSpPr>
          <p:spPr>
            <a:xfrm>
              <a:off x="2785378" y="3359199"/>
              <a:ext cx="31691" cy="21151"/>
            </a:xfrm>
            <a:custGeom>
              <a:avLst/>
              <a:gdLst/>
              <a:ahLst/>
              <a:cxnLst>
                <a:cxn ang="0">
                  <a:pos x="wd2" y="hd2"/>
                </a:cxn>
                <a:cxn ang="5400000">
                  <a:pos x="wd2" y="hd2"/>
                </a:cxn>
                <a:cxn ang="10800000">
                  <a:pos x="wd2" y="hd2"/>
                </a:cxn>
                <a:cxn ang="16200000">
                  <a:pos x="wd2" y="hd2"/>
                </a:cxn>
              </a:cxnLst>
              <a:rect l="0" t="0" r="r" b="b"/>
              <a:pathLst>
                <a:path w="21600" h="21600" extrusionOk="0">
                  <a:moveTo>
                    <a:pt x="3640" y="1640"/>
                  </a:moveTo>
                  <a:lnTo>
                    <a:pt x="0" y="7796"/>
                  </a:lnTo>
                  <a:lnTo>
                    <a:pt x="2602" y="18763"/>
                  </a:lnTo>
                  <a:lnTo>
                    <a:pt x="14365" y="21600"/>
                  </a:lnTo>
                  <a:lnTo>
                    <a:pt x="21600" y="10799"/>
                  </a:lnTo>
                  <a:lnTo>
                    <a:pt x="12284" y="0"/>
                  </a:lnTo>
                  <a:lnTo>
                    <a:pt x="3640" y="1640"/>
                  </a:lnTo>
                  <a:close/>
                </a:path>
              </a:pathLst>
            </a:custGeom>
            <a:grpFill/>
            <a:ln w="25400" cap="flat">
              <a:noFill/>
              <a:prstDash val="solid"/>
              <a:miter lim="400000"/>
            </a:ln>
            <a:effectLst/>
          </p:spPr>
          <p:txBody>
            <a:bodyPr anchor="ctr"/>
            <a:lstStyle/>
            <a:p>
              <a:pPr algn="ctr"/>
              <a:endParaRPr/>
            </a:p>
          </p:txBody>
        </p:sp>
        <p:sp>
          <p:nvSpPr>
            <p:cNvPr id="39" name="íšḻiďè">
              <a:extLst>
                <a:ext uri="{FF2B5EF4-FFF2-40B4-BE49-F238E27FC236}">
                  <a16:creationId xmlns:a16="http://schemas.microsoft.com/office/drawing/2014/main" id="{1A5BD41E-74BF-4806-9F4E-E3794450C6F0}"/>
                </a:ext>
              </a:extLst>
            </p:cNvPr>
            <p:cNvSpPr/>
            <p:nvPr/>
          </p:nvSpPr>
          <p:spPr>
            <a:xfrm>
              <a:off x="3344267" y="3394292"/>
              <a:ext cx="33620" cy="20352"/>
            </a:xfrm>
            <a:custGeom>
              <a:avLst/>
              <a:gdLst/>
              <a:ahLst/>
              <a:cxnLst>
                <a:cxn ang="0">
                  <a:pos x="wd2" y="hd2"/>
                </a:cxn>
                <a:cxn ang="5400000">
                  <a:pos x="wd2" y="hd2"/>
                </a:cxn>
                <a:cxn ang="10800000">
                  <a:pos x="wd2" y="hd2"/>
                </a:cxn>
                <a:cxn ang="16200000">
                  <a:pos x="wd2" y="hd2"/>
                </a:cxn>
              </a:cxnLst>
              <a:rect l="0" t="0" r="r" b="b"/>
              <a:pathLst>
                <a:path w="21600" h="21600" extrusionOk="0">
                  <a:moveTo>
                    <a:pt x="13908" y="0"/>
                  </a:moveTo>
                  <a:lnTo>
                    <a:pt x="4923" y="5629"/>
                  </a:lnTo>
                  <a:lnTo>
                    <a:pt x="0" y="15233"/>
                  </a:lnTo>
                  <a:lnTo>
                    <a:pt x="11838" y="21600"/>
                  </a:lnTo>
                  <a:lnTo>
                    <a:pt x="21600" y="13561"/>
                  </a:lnTo>
                  <a:lnTo>
                    <a:pt x="13908" y="0"/>
                  </a:lnTo>
                  <a:close/>
                </a:path>
              </a:pathLst>
            </a:custGeom>
            <a:grpFill/>
            <a:ln w="25400" cap="flat">
              <a:noFill/>
              <a:prstDash val="solid"/>
              <a:miter lim="400000"/>
            </a:ln>
            <a:effectLst/>
          </p:spPr>
          <p:txBody>
            <a:bodyPr anchor="ctr"/>
            <a:lstStyle/>
            <a:p>
              <a:pPr algn="ctr"/>
              <a:endParaRPr/>
            </a:p>
          </p:txBody>
        </p:sp>
        <p:sp>
          <p:nvSpPr>
            <p:cNvPr id="40" name="ïśḻíďè">
              <a:extLst>
                <a:ext uri="{FF2B5EF4-FFF2-40B4-BE49-F238E27FC236}">
                  <a16:creationId xmlns:a16="http://schemas.microsoft.com/office/drawing/2014/main" id="{199CF178-873E-4527-912A-F0F7367A979F}"/>
                </a:ext>
              </a:extLst>
            </p:cNvPr>
            <p:cNvSpPr/>
            <p:nvPr/>
          </p:nvSpPr>
          <p:spPr>
            <a:xfrm>
              <a:off x="3331641" y="3425859"/>
              <a:ext cx="28455" cy="19036"/>
            </a:xfrm>
            <a:custGeom>
              <a:avLst/>
              <a:gdLst/>
              <a:ahLst/>
              <a:cxnLst>
                <a:cxn ang="0">
                  <a:pos x="wd2" y="hd2"/>
                </a:cxn>
                <a:cxn ang="5400000">
                  <a:pos x="wd2" y="hd2"/>
                </a:cxn>
                <a:cxn ang="10800000">
                  <a:pos x="wd2" y="hd2"/>
                </a:cxn>
                <a:cxn ang="16200000">
                  <a:pos x="wd2" y="hd2"/>
                </a:cxn>
              </a:cxnLst>
              <a:rect l="0" t="0" r="r" b="b"/>
              <a:pathLst>
                <a:path w="21600" h="21600" extrusionOk="0">
                  <a:moveTo>
                    <a:pt x="9631" y="0"/>
                  </a:moveTo>
                  <a:lnTo>
                    <a:pt x="0" y="4044"/>
                  </a:lnTo>
                  <a:lnTo>
                    <a:pt x="1813" y="14722"/>
                  </a:lnTo>
                  <a:lnTo>
                    <a:pt x="18125" y="21600"/>
                  </a:lnTo>
                  <a:lnTo>
                    <a:pt x="21600" y="6160"/>
                  </a:lnTo>
                  <a:lnTo>
                    <a:pt x="9631" y="0"/>
                  </a:lnTo>
                  <a:close/>
                </a:path>
              </a:pathLst>
            </a:custGeom>
            <a:grpFill/>
            <a:ln w="25400" cap="flat">
              <a:noFill/>
              <a:prstDash val="solid"/>
              <a:miter lim="400000"/>
            </a:ln>
            <a:effectLst/>
          </p:spPr>
          <p:txBody>
            <a:bodyPr anchor="ctr"/>
            <a:lstStyle/>
            <a:p>
              <a:pPr algn="ctr"/>
              <a:endParaRPr/>
            </a:p>
          </p:txBody>
        </p:sp>
        <p:sp>
          <p:nvSpPr>
            <p:cNvPr id="41" name="íšliḋè">
              <a:extLst>
                <a:ext uri="{FF2B5EF4-FFF2-40B4-BE49-F238E27FC236}">
                  <a16:creationId xmlns:a16="http://schemas.microsoft.com/office/drawing/2014/main" id="{B6AEE212-2C0F-45FF-AFDF-2A71F0C2E7C4}"/>
                </a:ext>
              </a:extLst>
            </p:cNvPr>
            <p:cNvSpPr/>
            <p:nvPr/>
          </p:nvSpPr>
          <p:spPr>
            <a:xfrm>
              <a:off x="3393321" y="3447981"/>
              <a:ext cx="35832" cy="22889"/>
            </a:xfrm>
            <a:custGeom>
              <a:avLst/>
              <a:gdLst/>
              <a:ahLst/>
              <a:cxnLst>
                <a:cxn ang="0">
                  <a:pos x="wd2" y="hd2"/>
                </a:cxn>
                <a:cxn ang="5400000">
                  <a:pos x="wd2" y="hd2"/>
                </a:cxn>
                <a:cxn ang="10800000">
                  <a:pos x="wd2" y="hd2"/>
                </a:cxn>
                <a:cxn ang="16200000">
                  <a:pos x="wd2" y="hd2"/>
                </a:cxn>
              </a:cxnLst>
              <a:rect l="0" t="0" r="r" b="b"/>
              <a:pathLst>
                <a:path w="21600" h="21600" extrusionOk="0">
                  <a:moveTo>
                    <a:pt x="11523" y="6376"/>
                  </a:moveTo>
                  <a:lnTo>
                    <a:pt x="4204" y="0"/>
                  </a:lnTo>
                  <a:lnTo>
                    <a:pt x="0" y="8047"/>
                  </a:lnTo>
                  <a:lnTo>
                    <a:pt x="10142" y="21600"/>
                  </a:lnTo>
                  <a:lnTo>
                    <a:pt x="18861" y="21123"/>
                  </a:lnTo>
                  <a:lnTo>
                    <a:pt x="21600" y="13528"/>
                  </a:lnTo>
                  <a:lnTo>
                    <a:pt x="16408" y="10012"/>
                  </a:lnTo>
                  <a:lnTo>
                    <a:pt x="11523" y="6376"/>
                  </a:lnTo>
                  <a:close/>
                </a:path>
              </a:pathLst>
            </a:custGeom>
            <a:grpFill/>
            <a:ln w="25400" cap="flat">
              <a:noFill/>
              <a:prstDash val="solid"/>
              <a:miter lim="400000"/>
            </a:ln>
            <a:effectLst/>
          </p:spPr>
          <p:txBody>
            <a:bodyPr anchor="ctr"/>
            <a:lstStyle/>
            <a:p>
              <a:pPr algn="ctr"/>
              <a:endParaRPr/>
            </a:p>
          </p:txBody>
        </p:sp>
        <p:sp>
          <p:nvSpPr>
            <p:cNvPr id="42" name="îšľíḓé">
              <a:extLst>
                <a:ext uri="{FF2B5EF4-FFF2-40B4-BE49-F238E27FC236}">
                  <a16:creationId xmlns:a16="http://schemas.microsoft.com/office/drawing/2014/main" id="{3B3D6884-12CE-48FB-BAA1-5E8FD7211384}"/>
                </a:ext>
              </a:extLst>
            </p:cNvPr>
            <p:cNvSpPr/>
            <p:nvPr/>
          </p:nvSpPr>
          <p:spPr>
            <a:xfrm>
              <a:off x="3434240" y="3430336"/>
              <a:ext cx="22284" cy="23522"/>
            </a:xfrm>
            <a:custGeom>
              <a:avLst/>
              <a:gdLst/>
              <a:ahLst/>
              <a:cxnLst>
                <a:cxn ang="0">
                  <a:pos x="wd2" y="hd2"/>
                </a:cxn>
                <a:cxn ang="5400000">
                  <a:pos x="wd2" y="hd2"/>
                </a:cxn>
                <a:cxn ang="10800000">
                  <a:pos x="wd2" y="hd2"/>
                </a:cxn>
                <a:cxn ang="16200000">
                  <a:pos x="wd2" y="hd2"/>
                </a:cxn>
              </a:cxnLst>
              <a:rect l="0" t="0" r="r" b="b"/>
              <a:pathLst>
                <a:path w="21600" h="21600" extrusionOk="0">
                  <a:moveTo>
                    <a:pt x="6626" y="0"/>
                  </a:moveTo>
                  <a:lnTo>
                    <a:pt x="20027" y="3450"/>
                  </a:lnTo>
                  <a:lnTo>
                    <a:pt x="21600" y="15366"/>
                  </a:lnTo>
                  <a:lnTo>
                    <a:pt x="15221" y="21600"/>
                  </a:lnTo>
                  <a:lnTo>
                    <a:pt x="10567" y="15424"/>
                  </a:lnTo>
                  <a:lnTo>
                    <a:pt x="0" y="9425"/>
                  </a:lnTo>
                  <a:lnTo>
                    <a:pt x="6626" y="0"/>
                  </a:lnTo>
                  <a:close/>
                </a:path>
              </a:pathLst>
            </a:custGeom>
            <a:grpFill/>
            <a:ln w="25400" cap="flat">
              <a:noFill/>
              <a:prstDash val="solid"/>
              <a:miter lim="400000"/>
            </a:ln>
            <a:effectLst/>
          </p:spPr>
          <p:txBody>
            <a:bodyPr anchor="ctr"/>
            <a:lstStyle/>
            <a:p>
              <a:pPr algn="ctr"/>
              <a:endParaRPr/>
            </a:p>
          </p:txBody>
        </p:sp>
        <p:sp>
          <p:nvSpPr>
            <p:cNvPr id="43" name="îśliḑé">
              <a:extLst>
                <a:ext uri="{FF2B5EF4-FFF2-40B4-BE49-F238E27FC236}">
                  <a16:creationId xmlns:a16="http://schemas.microsoft.com/office/drawing/2014/main" id="{89C8928C-C17C-4470-BF57-4208B877CE3A}"/>
                </a:ext>
              </a:extLst>
            </p:cNvPr>
            <p:cNvSpPr/>
            <p:nvPr/>
          </p:nvSpPr>
          <p:spPr>
            <a:xfrm>
              <a:off x="3386807" y="3401248"/>
              <a:ext cx="16360" cy="16360"/>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4009"/>
                  </a:lnTo>
                  <a:lnTo>
                    <a:pt x="4094" y="21600"/>
                  </a:lnTo>
                  <a:lnTo>
                    <a:pt x="19333" y="19457"/>
                  </a:lnTo>
                  <a:lnTo>
                    <a:pt x="21600" y="0"/>
                  </a:lnTo>
                  <a:close/>
                </a:path>
              </a:pathLst>
            </a:custGeom>
            <a:grpFill/>
            <a:ln w="25400" cap="flat">
              <a:noFill/>
              <a:prstDash val="solid"/>
              <a:miter lim="400000"/>
            </a:ln>
            <a:effectLst/>
          </p:spPr>
          <p:txBody>
            <a:bodyPr anchor="ctr"/>
            <a:lstStyle/>
            <a:p>
              <a:pPr algn="ctr"/>
              <a:endParaRPr/>
            </a:p>
          </p:txBody>
        </p:sp>
        <p:sp>
          <p:nvSpPr>
            <p:cNvPr id="44" name="îṣļîďé">
              <a:extLst>
                <a:ext uri="{FF2B5EF4-FFF2-40B4-BE49-F238E27FC236}">
                  <a16:creationId xmlns:a16="http://schemas.microsoft.com/office/drawing/2014/main" id="{2286530D-D7B5-4F59-A08F-A847A471BC88}"/>
                </a:ext>
              </a:extLst>
            </p:cNvPr>
            <p:cNvSpPr/>
            <p:nvPr/>
          </p:nvSpPr>
          <p:spPr>
            <a:xfrm>
              <a:off x="3471329" y="3432447"/>
              <a:ext cx="25215" cy="23805"/>
            </a:xfrm>
            <a:custGeom>
              <a:avLst/>
              <a:gdLst/>
              <a:ahLst/>
              <a:cxnLst>
                <a:cxn ang="0">
                  <a:pos x="wd2" y="hd2"/>
                </a:cxn>
                <a:cxn ang="5400000">
                  <a:pos x="wd2" y="hd2"/>
                </a:cxn>
                <a:cxn ang="10800000">
                  <a:pos x="wd2" y="hd2"/>
                </a:cxn>
                <a:cxn ang="16200000">
                  <a:pos x="wd2" y="hd2"/>
                </a:cxn>
              </a:cxnLst>
              <a:rect l="0" t="0" r="r" b="b"/>
              <a:pathLst>
                <a:path w="21600" h="21600" extrusionOk="0">
                  <a:moveTo>
                    <a:pt x="4658" y="0"/>
                  </a:moveTo>
                  <a:lnTo>
                    <a:pt x="0" y="6332"/>
                  </a:lnTo>
                  <a:lnTo>
                    <a:pt x="2862" y="20225"/>
                  </a:lnTo>
                  <a:lnTo>
                    <a:pt x="16398" y="21600"/>
                  </a:lnTo>
                  <a:lnTo>
                    <a:pt x="21600" y="13406"/>
                  </a:lnTo>
                  <a:lnTo>
                    <a:pt x="12259" y="9052"/>
                  </a:lnTo>
                  <a:lnTo>
                    <a:pt x="4658" y="0"/>
                  </a:lnTo>
                  <a:close/>
                </a:path>
              </a:pathLst>
            </a:custGeom>
            <a:grpFill/>
            <a:ln w="25400" cap="flat">
              <a:noFill/>
              <a:prstDash val="solid"/>
              <a:miter lim="400000"/>
            </a:ln>
            <a:effectLst/>
          </p:spPr>
          <p:txBody>
            <a:bodyPr anchor="ctr"/>
            <a:lstStyle/>
            <a:p>
              <a:pPr algn="ctr"/>
              <a:endParaRPr/>
            </a:p>
          </p:txBody>
        </p:sp>
        <p:sp>
          <p:nvSpPr>
            <p:cNvPr id="45" name="ísliḓé">
              <a:extLst>
                <a:ext uri="{FF2B5EF4-FFF2-40B4-BE49-F238E27FC236}">
                  <a16:creationId xmlns:a16="http://schemas.microsoft.com/office/drawing/2014/main" id="{EBF0EC3E-322F-435F-B921-BF0625DF1B3F}"/>
                </a:ext>
              </a:extLst>
            </p:cNvPr>
            <p:cNvSpPr/>
            <p:nvPr/>
          </p:nvSpPr>
          <p:spPr>
            <a:xfrm>
              <a:off x="3444546" y="3470941"/>
              <a:ext cx="16360" cy="16360"/>
            </a:xfrm>
            <a:custGeom>
              <a:avLst/>
              <a:gdLst/>
              <a:ahLst/>
              <a:cxnLst>
                <a:cxn ang="0">
                  <a:pos x="wd2" y="hd2"/>
                </a:cxn>
                <a:cxn ang="5400000">
                  <a:pos x="wd2" y="hd2"/>
                </a:cxn>
                <a:cxn ang="10800000">
                  <a:pos x="wd2" y="hd2"/>
                </a:cxn>
                <a:cxn ang="16200000">
                  <a:pos x="wd2" y="hd2"/>
                </a:cxn>
              </a:cxnLst>
              <a:rect l="0" t="0" r="r" b="b"/>
              <a:pathLst>
                <a:path w="21600" h="21600" extrusionOk="0">
                  <a:moveTo>
                    <a:pt x="12399" y="0"/>
                  </a:moveTo>
                  <a:lnTo>
                    <a:pt x="0" y="5671"/>
                  </a:lnTo>
                  <a:lnTo>
                    <a:pt x="2675" y="21600"/>
                  </a:lnTo>
                  <a:lnTo>
                    <a:pt x="21600" y="16063"/>
                  </a:lnTo>
                  <a:lnTo>
                    <a:pt x="12399" y="0"/>
                  </a:lnTo>
                  <a:close/>
                </a:path>
              </a:pathLst>
            </a:custGeom>
            <a:grpFill/>
            <a:ln w="25400" cap="flat">
              <a:noFill/>
              <a:prstDash val="solid"/>
              <a:miter lim="400000"/>
            </a:ln>
            <a:effectLst/>
          </p:spPr>
          <p:txBody>
            <a:bodyPr anchor="ctr"/>
            <a:lstStyle/>
            <a:p>
              <a:pPr algn="ctr"/>
              <a:endParaRPr/>
            </a:p>
          </p:txBody>
        </p:sp>
        <p:sp>
          <p:nvSpPr>
            <p:cNvPr id="46" name="i$ḻïḋe">
              <a:extLst>
                <a:ext uri="{FF2B5EF4-FFF2-40B4-BE49-F238E27FC236}">
                  <a16:creationId xmlns:a16="http://schemas.microsoft.com/office/drawing/2014/main" id="{498004F8-ED29-4342-B0F9-80D2F33672B3}"/>
                </a:ext>
              </a:extLst>
            </p:cNvPr>
            <p:cNvSpPr/>
            <p:nvPr/>
          </p:nvSpPr>
          <p:spPr>
            <a:xfrm>
              <a:off x="3474836" y="3472701"/>
              <a:ext cx="20827" cy="33622"/>
            </a:xfrm>
            <a:custGeom>
              <a:avLst/>
              <a:gdLst/>
              <a:ahLst/>
              <a:cxnLst>
                <a:cxn ang="0">
                  <a:pos x="wd2" y="hd2"/>
                </a:cxn>
                <a:cxn ang="5400000">
                  <a:pos x="wd2" y="hd2"/>
                </a:cxn>
                <a:cxn ang="10800000">
                  <a:pos x="wd2" y="hd2"/>
                </a:cxn>
                <a:cxn ang="16200000">
                  <a:pos x="wd2" y="hd2"/>
                </a:cxn>
              </a:cxnLst>
              <a:rect l="0" t="0" r="r" b="b"/>
              <a:pathLst>
                <a:path w="21600" h="21600" extrusionOk="0">
                  <a:moveTo>
                    <a:pt x="5991" y="1945"/>
                  </a:moveTo>
                  <a:lnTo>
                    <a:pt x="1244" y="7766"/>
                  </a:lnTo>
                  <a:lnTo>
                    <a:pt x="0" y="16103"/>
                  </a:lnTo>
                  <a:lnTo>
                    <a:pt x="7919" y="21600"/>
                  </a:lnTo>
                  <a:lnTo>
                    <a:pt x="15566" y="13365"/>
                  </a:lnTo>
                  <a:lnTo>
                    <a:pt x="21600" y="6755"/>
                  </a:lnTo>
                  <a:lnTo>
                    <a:pt x="18962" y="0"/>
                  </a:lnTo>
                  <a:lnTo>
                    <a:pt x="5991" y="1945"/>
                  </a:lnTo>
                  <a:close/>
                </a:path>
              </a:pathLst>
            </a:custGeom>
            <a:grpFill/>
            <a:ln w="25400" cap="flat">
              <a:noFill/>
              <a:prstDash val="solid"/>
              <a:miter lim="400000"/>
            </a:ln>
            <a:effectLst/>
          </p:spPr>
          <p:txBody>
            <a:bodyPr anchor="ctr"/>
            <a:lstStyle/>
            <a:p>
              <a:pPr algn="ctr"/>
              <a:endParaRPr/>
            </a:p>
          </p:txBody>
        </p:sp>
        <p:sp>
          <p:nvSpPr>
            <p:cNvPr id="47" name="îşlîďè">
              <a:extLst>
                <a:ext uri="{FF2B5EF4-FFF2-40B4-BE49-F238E27FC236}">
                  <a16:creationId xmlns:a16="http://schemas.microsoft.com/office/drawing/2014/main" id="{A554C945-91A5-4164-98DE-D90D922C9C36}"/>
                </a:ext>
              </a:extLst>
            </p:cNvPr>
            <p:cNvSpPr/>
            <p:nvPr/>
          </p:nvSpPr>
          <p:spPr>
            <a:xfrm>
              <a:off x="3486460" y="3511833"/>
              <a:ext cx="18556" cy="17467"/>
            </a:xfrm>
            <a:custGeom>
              <a:avLst/>
              <a:gdLst/>
              <a:ahLst/>
              <a:cxnLst>
                <a:cxn ang="0">
                  <a:pos x="wd2" y="hd2"/>
                </a:cxn>
                <a:cxn ang="5400000">
                  <a:pos x="wd2" y="hd2"/>
                </a:cxn>
                <a:cxn ang="10800000">
                  <a:pos x="wd2" y="hd2"/>
                </a:cxn>
                <a:cxn ang="16200000">
                  <a:pos x="wd2" y="hd2"/>
                </a:cxn>
              </a:cxnLst>
              <a:rect l="0" t="0" r="r" b="b"/>
              <a:pathLst>
                <a:path w="21600" h="21600" extrusionOk="0">
                  <a:moveTo>
                    <a:pt x="14469" y="0"/>
                  </a:moveTo>
                  <a:lnTo>
                    <a:pt x="4293" y="1913"/>
                  </a:lnTo>
                  <a:lnTo>
                    <a:pt x="0" y="13206"/>
                  </a:lnTo>
                  <a:lnTo>
                    <a:pt x="8574" y="21600"/>
                  </a:lnTo>
                  <a:lnTo>
                    <a:pt x="21600" y="15041"/>
                  </a:lnTo>
                  <a:lnTo>
                    <a:pt x="14469" y="0"/>
                  </a:lnTo>
                  <a:close/>
                </a:path>
              </a:pathLst>
            </a:custGeom>
            <a:grpFill/>
            <a:ln w="25400" cap="flat">
              <a:noFill/>
              <a:prstDash val="solid"/>
              <a:miter lim="400000"/>
            </a:ln>
            <a:effectLst/>
          </p:spPr>
          <p:txBody>
            <a:bodyPr anchor="ctr"/>
            <a:lstStyle/>
            <a:p>
              <a:pPr algn="ctr"/>
              <a:endParaRPr/>
            </a:p>
          </p:txBody>
        </p:sp>
        <p:sp>
          <p:nvSpPr>
            <p:cNvPr id="48" name="îš1íḑé">
              <a:extLst>
                <a:ext uri="{FF2B5EF4-FFF2-40B4-BE49-F238E27FC236}">
                  <a16:creationId xmlns:a16="http://schemas.microsoft.com/office/drawing/2014/main" id="{5B607F43-0725-4A01-840E-AF379AA267B9}"/>
                </a:ext>
              </a:extLst>
            </p:cNvPr>
            <p:cNvSpPr/>
            <p:nvPr/>
          </p:nvSpPr>
          <p:spPr>
            <a:xfrm>
              <a:off x="3201743" y="3611230"/>
              <a:ext cx="24821" cy="34310"/>
            </a:xfrm>
            <a:custGeom>
              <a:avLst/>
              <a:gdLst/>
              <a:ahLst/>
              <a:cxnLst>
                <a:cxn ang="0">
                  <a:pos x="wd2" y="hd2"/>
                </a:cxn>
                <a:cxn ang="5400000">
                  <a:pos x="wd2" y="hd2"/>
                </a:cxn>
                <a:cxn ang="10800000">
                  <a:pos x="wd2" y="hd2"/>
                </a:cxn>
                <a:cxn ang="16200000">
                  <a:pos x="wd2" y="hd2"/>
                </a:cxn>
              </a:cxnLst>
              <a:rect l="0" t="0" r="r" b="b"/>
              <a:pathLst>
                <a:path w="21600" h="21600" extrusionOk="0">
                  <a:moveTo>
                    <a:pt x="5948" y="0"/>
                  </a:moveTo>
                  <a:lnTo>
                    <a:pt x="0" y="7133"/>
                  </a:lnTo>
                  <a:lnTo>
                    <a:pt x="2568" y="12598"/>
                  </a:lnTo>
                  <a:lnTo>
                    <a:pt x="10534" y="21600"/>
                  </a:lnTo>
                  <a:lnTo>
                    <a:pt x="21600" y="16991"/>
                  </a:lnTo>
                  <a:lnTo>
                    <a:pt x="13411" y="4789"/>
                  </a:lnTo>
                  <a:lnTo>
                    <a:pt x="5948" y="0"/>
                  </a:lnTo>
                  <a:close/>
                </a:path>
              </a:pathLst>
            </a:custGeom>
            <a:grpFill/>
            <a:ln w="25400" cap="flat">
              <a:noFill/>
              <a:prstDash val="solid"/>
              <a:miter lim="400000"/>
            </a:ln>
            <a:effectLst/>
          </p:spPr>
          <p:txBody>
            <a:bodyPr anchor="ctr"/>
            <a:lstStyle/>
            <a:p>
              <a:pPr algn="ctr"/>
              <a:endParaRPr/>
            </a:p>
          </p:txBody>
        </p:sp>
        <p:sp>
          <p:nvSpPr>
            <p:cNvPr id="49" name="iŝḷíḓe">
              <a:extLst>
                <a:ext uri="{FF2B5EF4-FFF2-40B4-BE49-F238E27FC236}">
                  <a16:creationId xmlns:a16="http://schemas.microsoft.com/office/drawing/2014/main" id="{04371196-FB14-4E31-AD02-09A00F6FEF5C}"/>
                </a:ext>
              </a:extLst>
            </p:cNvPr>
            <p:cNvSpPr/>
            <p:nvPr/>
          </p:nvSpPr>
          <p:spPr>
            <a:xfrm>
              <a:off x="3163762" y="3609243"/>
              <a:ext cx="17550" cy="29518"/>
            </a:xfrm>
            <a:custGeom>
              <a:avLst/>
              <a:gdLst/>
              <a:ahLst/>
              <a:cxnLst>
                <a:cxn ang="0">
                  <a:pos x="wd2" y="hd2"/>
                </a:cxn>
                <a:cxn ang="5400000">
                  <a:pos x="wd2" y="hd2"/>
                </a:cxn>
                <a:cxn ang="10800000">
                  <a:pos x="wd2" y="hd2"/>
                </a:cxn>
                <a:cxn ang="16200000">
                  <a:pos x="wd2" y="hd2"/>
                </a:cxn>
              </a:cxnLst>
              <a:rect l="0" t="0" r="r" b="b"/>
              <a:pathLst>
                <a:path w="21600" h="21600" extrusionOk="0">
                  <a:moveTo>
                    <a:pt x="2385" y="0"/>
                  </a:moveTo>
                  <a:lnTo>
                    <a:pt x="0" y="5129"/>
                  </a:lnTo>
                  <a:lnTo>
                    <a:pt x="434" y="19428"/>
                  </a:lnTo>
                  <a:lnTo>
                    <a:pt x="19135" y="21600"/>
                  </a:lnTo>
                  <a:lnTo>
                    <a:pt x="21600" y="14762"/>
                  </a:lnTo>
                  <a:lnTo>
                    <a:pt x="16043" y="5916"/>
                  </a:lnTo>
                  <a:lnTo>
                    <a:pt x="2385" y="0"/>
                  </a:lnTo>
                  <a:close/>
                </a:path>
              </a:pathLst>
            </a:custGeom>
            <a:grpFill/>
            <a:ln w="25400" cap="flat">
              <a:noFill/>
              <a:prstDash val="solid"/>
              <a:miter lim="400000"/>
            </a:ln>
            <a:effectLst/>
          </p:spPr>
          <p:txBody>
            <a:bodyPr anchor="ctr"/>
            <a:lstStyle/>
            <a:p>
              <a:pPr algn="ctr"/>
              <a:endParaRPr/>
            </a:p>
          </p:txBody>
        </p:sp>
        <p:sp>
          <p:nvSpPr>
            <p:cNvPr id="50" name="îṣḻîḓe">
              <a:extLst>
                <a:ext uri="{FF2B5EF4-FFF2-40B4-BE49-F238E27FC236}">
                  <a16:creationId xmlns:a16="http://schemas.microsoft.com/office/drawing/2014/main" id="{4EF5DCED-C60C-4825-B759-24B9BC0C178A}"/>
                </a:ext>
              </a:extLst>
            </p:cNvPr>
            <p:cNvSpPr/>
            <p:nvPr/>
          </p:nvSpPr>
          <p:spPr>
            <a:xfrm>
              <a:off x="3499270" y="3543405"/>
              <a:ext cx="20061" cy="18682"/>
            </a:xfrm>
            <a:custGeom>
              <a:avLst/>
              <a:gdLst/>
              <a:ahLst/>
              <a:cxnLst>
                <a:cxn ang="0">
                  <a:pos x="wd2" y="hd2"/>
                </a:cxn>
                <a:cxn ang="5400000">
                  <a:pos x="wd2" y="hd2"/>
                </a:cxn>
                <a:cxn ang="10800000">
                  <a:pos x="wd2" y="hd2"/>
                </a:cxn>
                <a:cxn ang="16200000">
                  <a:pos x="wd2" y="hd2"/>
                </a:cxn>
              </a:cxnLst>
              <a:rect l="0" t="0" r="r" b="b"/>
              <a:pathLst>
                <a:path w="21600" h="21600" extrusionOk="0">
                  <a:moveTo>
                    <a:pt x="8114" y="0"/>
                  </a:moveTo>
                  <a:lnTo>
                    <a:pt x="0" y="7264"/>
                  </a:lnTo>
                  <a:lnTo>
                    <a:pt x="3469" y="21600"/>
                  </a:lnTo>
                  <a:lnTo>
                    <a:pt x="16705" y="21600"/>
                  </a:lnTo>
                  <a:lnTo>
                    <a:pt x="21600" y="6746"/>
                  </a:lnTo>
                  <a:lnTo>
                    <a:pt x="8114" y="0"/>
                  </a:lnTo>
                  <a:close/>
                </a:path>
              </a:pathLst>
            </a:custGeom>
            <a:grpFill/>
            <a:ln w="25400" cap="flat">
              <a:noFill/>
              <a:prstDash val="solid"/>
              <a:miter lim="400000"/>
            </a:ln>
            <a:effectLst/>
          </p:spPr>
          <p:txBody>
            <a:bodyPr anchor="ctr"/>
            <a:lstStyle/>
            <a:p>
              <a:pPr algn="ctr"/>
              <a:endParaRPr/>
            </a:p>
          </p:txBody>
        </p:sp>
        <p:sp>
          <p:nvSpPr>
            <p:cNvPr id="51" name="iṥ1îḍé">
              <a:extLst>
                <a:ext uri="{FF2B5EF4-FFF2-40B4-BE49-F238E27FC236}">
                  <a16:creationId xmlns:a16="http://schemas.microsoft.com/office/drawing/2014/main" id="{7CD0C3CD-19EA-41B2-AAAA-1E71980482B1}"/>
                </a:ext>
              </a:extLst>
            </p:cNvPr>
            <p:cNvSpPr/>
            <p:nvPr/>
          </p:nvSpPr>
          <p:spPr>
            <a:xfrm>
              <a:off x="3477190" y="3573359"/>
              <a:ext cx="16360" cy="23674"/>
            </a:xfrm>
            <a:custGeom>
              <a:avLst/>
              <a:gdLst/>
              <a:ahLst/>
              <a:cxnLst>
                <a:cxn ang="0">
                  <a:pos x="wd2" y="hd2"/>
                </a:cxn>
                <a:cxn ang="5400000">
                  <a:pos x="wd2" y="hd2"/>
                </a:cxn>
                <a:cxn ang="10800000">
                  <a:pos x="wd2" y="hd2"/>
                </a:cxn>
                <a:cxn ang="16200000">
                  <a:pos x="wd2" y="hd2"/>
                </a:cxn>
              </a:cxnLst>
              <a:rect l="0" t="0" r="r" b="b"/>
              <a:pathLst>
                <a:path w="21600" h="21600" extrusionOk="0">
                  <a:moveTo>
                    <a:pt x="7562" y="0"/>
                  </a:moveTo>
                  <a:lnTo>
                    <a:pt x="0" y="10629"/>
                  </a:lnTo>
                  <a:lnTo>
                    <a:pt x="15829" y="21600"/>
                  </a:lnTo>
                  <a:lnTo>
                    <a:pt x="21600" y="10397"/>
                  </a:lnTo>
                  <a:lnTo>
                    <a:pt x="7562" y="0"/>
                  </a:lnTo>
                  <a:close/>
                </a:path>
              </a:pathLst>
            </a:custGeom>
            <a:grpFill/>
            <a:ln w="25400" cap="flat">
              <a:noFill/>
              <a:prstDash val="solid"/>
              <a:miter lim="400000"/>
            </a:ln>
            <a:effectLst/>
          </p:spPr>
          <p:txBody>
            <a:bodyPr anchor="ctr"/>
            <a:lstStyle/>
            <a:p>
              <a:pPr algn="ctr"/>
              <a:endParaRPr/>
            </a:p>
          </p:txBody>
        </p:sp>
        <p:sp>
          <p:nvSpPr>
            <p:cNvPr id="52" name="îṧ1iḍé">
              <a:extLst>
                <a:ext uri="{FF2B5EF4-FFF2-40B4-BE49-F238E27FC236}">
                  <a16:creationId xmlns:a16="http://schemas.microsoft.com/office/drawing/2014/main" id="{0D6119F9-D4CF-4774-B7DB-64FDA191D94B}"/>
                </a:ext>
              </a:extLst>
            </p:cNvPr>
            <p:cNvSpPr/>
            <p:nvPr/>
          </p:nvSpPr>
          <p:spPr>
            <a:xfrm>
              <a:off x="3463227" y="3603633"/>
              <a:ext cx="16360" cy="18373"/>
            </a:xfrm>
            <a:custGeom>
              <a:avLst/>
              <a:gdLst/>
              <a:ahLst/>
              <a:cxnLst>
                <a:cxn ang="0">
                  <a:pos x="wd2" y="hd2"/>
                </a:cxn>
                <a:cxn ang="5400000">
                  <a:pos x="wd2" y="hd2"/>
                </a:cxn>
                <a:cxn ang="10800000">
                  <a:pos x="wd2" y="hd2"/>
                </a:cxn>
                <a:cxn ang="16200000">
                  <a:pos x="wd2" y="hd2"/>
                </a:cxn>
              </a:cxnLst>
              <a:rect l="0" t="0" r="r" b="b"/>
              <a:pathLst>
                <a:path w="21600" h="21600" extrusionOk="0">
                  <a:moveTo>
                    <a:pt x="5327" y="736"/>
                  </a:moveTo>
                  <a:lnTo>
                    <a:pt x="0" y="9568"/>
                  </a:lnTo>
                  <a:lnTo>
                    <a:pt x="5961" y="21600"/>
                  </a:lnTo>
                  <a:lnTo>
                    <a:pt x="20526" y="21266"/>
                  </a:lnTo>
                  <a:lnTo>
                    <a:pt x="21600" y="0"/>
                  </a:lnTo>
                  <a:lnTo>
                    <a:pt x="5327" y="736"/>
                  </a:lnTo>
                  <a:close/>
                </a:path>
              </a:pathLst>
            </a:custGeom>
            <a:grpFill/>
            <a:ln w="25400" cap="flat">
              <a:noFill/>
              <a:prstDash val="solid"/>
              <a:miter lim="400000"/>
            </a:ln>
            <a:effectLst/>
          </p:spPr>
          <p:txBody>
            <a:bodyPr anchor="ctr"/>
            <a:lstStyle/>
            <a:p>
              <a:pPr algn="ctr"/>
              <a:endParaRPr/>
            </a:p>
          </p:txBody>
        </p:sp>
        <p:sp>
          <p:nvSpPr>
            <p:cNvPr id="53" name="işḷide">
              <a:extLst>
                <a:ext uri="{FF2B5EF4-FFF2-40B4-BE49-F238E27FC236}">
                  <a16:creationId xmlns:a16="http://schemas.microsoft.com/office/drawing/2014/main" id="{7E7E2E0D-AB54-4ACC-9A3D-7668B9200023}"/>
                </a:ext>
              </a:extLst>
            </p:cNvPr>
            <p:cNvSpPr/>
            <p:nvPr/>
          </p:nvSpPr>
          <p:spPr>
            <a:xfrm>
              <a:off x="3443086" y="3638761"/>
              <a:ext cx="16360" cy="22038"/>
            </a:xfrm>
            <a:custGeom>
              <a:avLst/>
              <a:gdLst/>
              <a:ahLst/>
              <a:cxnLst>
                <a:cxn ang="0">
                  <a:pos x="wd2" y="hd2"/>
                </a:cxn>
                <a:cxn ang="5400000">
                  <a:pos x="wd2" y="hd2"/>
                </a:cxn>
                <a:cxn ang="10800000">
                  <a:pos x="wd2" y="hd2"/>
                </a:cxn>
                <a:cxn ang="16200000">
                  <a:pos x="wd2" y="hd2"/>
                </a:cxn>
              </a:cxnLst>
              <a:rect l="0" t="0" r="r" b="b"/>
              <a:pathLst>
                <a:path w="21600" h="21600" extrusionOk="0">
                  <a:moveTo>
                    <a:pt x="11127" y="0"/>
                  </a:moveTo>
                  <a:lnTo>
                    <a:pt x="0" y="9654"/>
                  </a:lnTo>
                  <a:lnTo>
                    <a:pt x="3308" y="20145"/>
                  </a:lnTo>
                  <a:lnTo>
                    <a:pt x="16235" y="21600"/>
                  </a:lnTo>
                  <a:lnTo>
                    <a:pt x="21600" y="6811"/>
                  </a:lnTo>
                  <a:lnTo>
                    <a:pt x="11127" y="0"/>
                  </a:lnTo>
                  <a:close/>
                </a:path>
              </a:pathLst>
            </a:custGeom>
            <a:grpFill/>
            <a:ln w="25400" cap="flat">
              <a:noFill/>
              <a:prstDash val="solid"/>
              <a:miter lim="400000"/>
            </a:ln>
            <a:effectLst/>
          </p:spPr>
          <p:txBody>
            <a:bodyPr anchor="ctr"/>
            <a:lstStyle/>
            <a:p>
              <a:pPr algn="ctr"/>
              <a:endParaRPr/>
            </a:p>
          </p:txBody>
        </p:sp>
        <p:sp>
          <p:nvSpPr>
            <p:cNvPr id="54" name="íşļîďe">
              <a:extLst>
                <a:ext uri="{FF2B5EF4-FFF2-40B4-BE49-F238E27FC236}">
                  <a16:creationId xmlns:a16="http://schemas.microsoft.com/office/drawing/2014/main" id="{CBE6C765-C9AA-4F78-8E54-07D1A4756291}"/>
                </a:ext>
              </a:extLst>
            </p:cNvPr>
            <p:cNvSpPr/>
            <p:nvPr/>
          </p:nvSpPr>
          <p:spPr>
            <a:xfrm>
              <a:off x="3429659" y="3689387"/>
              <a:ext cx="39165" cy="38527"/>
            </a:xfrm>
            <a:custGeom>
              <a:avLst/>
              <a:gdLst/>
              <a:ahLst/>
              <a:cxnLst>
                <a:cxn ang="0">
                  <a:pos x="wd2" y="hd2"/>
                </a:cxn>
                <a:cxn ang="5400000">
                  <a:pos x="wd2" y="hd2"/>
                </a:cxn>
                <a:cxn ang="10800000">
                  <a:pos x="wd2" y="hd2"/>
                </a:cxn>
                <a:cxn ang="16200000">
                  <a:pos x="wd2" y="hd2"/>
                </a:cxn>
              </a:cxnLst>
              <a:rect l="0" t="0" r="r" b="b"/>
              <a:pathLst>
                <a:path w="21600" h="21600" extrusionOk="0">
                  <a:moveTo>
                    <a:pt x="14904" y="867"/>
                  </a:moveTo>
                  <a:lnTo>
                    <a:pt x="8331" y="0"/>
                  </a:lnTo>
                  <a:lnTo>
                    <a:pt x="2816" y="2733"/>
                  </a:lnTo>
                  <a:lnTo>
                    <a:pt x="6666" y="6397"/>
                  </a:lnTo>
                  <a:lnTo>
                    <a:pt x="2928" y="11440"/>
                  </a:lnTo>
                  <a:lnTo>
                    <a:pt x="0" y="16520"/>
                  </a:lnTo>
                  <a:lnTo>
                    <a:pt x="4665" y="21600"/>
                  </a:lnTo>
                  <a:lnTo>
                    <a:pt x="15744" y="21600"/>
                  </a:lnTo>
                  <a:lnTo>
                    <a:pt x="16989" y="14679"/>
                  </a:lnTo>
                  <a:lnTo>
                    <a:pt x="17830" y="9194"/>
                  </a:lnTo>
                  <a:lnTo>
                    <a:pt x="21600" y="3831"/>
                  </a:lnTo>
                  <a:lnTo>
                    <a:pt x="19513" y="592"/>
                  </a:lnTo>
                  <a:lnTo>
                    <a:pt x="14904" y="867"/>
                  </a:lnTo>
                  <a:close/>
                </a:path>
              </a:pathLst>
            </a:custGeom>
            <a:grpFill/>
            <a:ln w="25400" cap="flat">
              <a:noFill/>
              <a:prstDash val="solid"/>
              <a:miter lim="400000"/>
            </a:ln>
            <a:effectLst/>
          </p:spPr>
          <p:txBody>
            <a:bodyPr anchor="ctr"/>
            <a:lstStyle/>
            <a:p>
              <a:pPr algn="ctr"/>
              <a:endParaRPr/>
            </a:p>
          </p:txBody>
        </p:sp>
        <p:sp>
          <p:nvSpPr>
            <p:cNvPr id="55" name="ïŝľîdé">
              <a:extLst>
                <a:ext uri="{FF2B5EF4-FFF2-40B4-BE49-F238E27FC236}">
                  <a16:creationId xmlns:a16="http://schemas.microsoft.com/office/drawing/2014/main" id="{BDF16C1E-FF08-4506-A8A6-3F91E2AF8A58}"/>
                </a:ext>
              </a:extLst>
            </p:cNvPr>
            <p:cNvSpPr/>
            <p:nvPr/>
          </p:nvSpPr>
          <p:spPr>
            <a:xfrm>
              <a:off x="3541688" y="3591732"/>
              <a:ext cx="25710" cy="21915"/>
            </a:xfrm>
            <a:custGeom>
              <a:avLst/>
              <a:gdLst/>
              <a:ahLst/>
              <a:cxnLst>
                <a:cxn ang="0">
                  <a:pos x="wd2" y="hd2"/>
                </a:cxn>
                <a:cxn ang="5400000">
                  <a:pos x="wd2" y="hd2"/>
                </a:cxn>
                <a:cxn ang="10800000">
                  <a:pos x="wd2" y="hd2"/>
                </a:cxn>
                <a:cxn ang="16200000">
                  <a:pos x="wd2" y="hd2"/>
                </a:cxn>
              </a:cxnLst>
              <a:rect l="0" t="0" r="r" b="b"/>
              <a:pathLst>
                <a:path w="21600" h="21600" extrusionOk="0">
                  <a:moveTo>
                    <a:pt x="6204" y="0"/>
                  </a:moveTo>
                  <a:lnTo>
                    <a:pt x="385" y="10265"/>
                  </a:lnTo>
                  <a:lnTo>
                    <a:pt x="0" y="20853"/>
                  </a:lnTo>
                  <a:lnTo>
                    <a:pt x="13483" y="21600"/>
                  </a:lnTo>
                  <a:lnTo>
                    <a:pt x="21600" y="18646"/>
                  </a:lnTo>
                  <a:lnTo>
                    <a:pt x="9663" y="9934"/>
                  </a:lnTo>
                  <a:lnTo>
                    <a:pt x="6204" y="0"/>
                  </a:lnTo>
                  <a:close/>
                </a:path>
              </a:pathLst>
            </a:custGeom>
            <a:grpFill/>
            <a:ln w="25400" cap="flat">
              <a:noFill/>
              <a:prstDash val="solid"/>
              <a:miter lim="400000"/>
            </a:ln>
            <a:effectLst/>
          </p:spPr>
          <p:txBody>
            <a:bodyPr anchor="ctr"/>
            <a:lstStyle/>
            <a:p>
              <a:pPr algn="ctr"/>
              <a:endParaRPr/>
            </a:p>
          </p:txBody>
        </p:sp>
        <p:sp>
          <p:nvSpPr>
            <p:cNvPr id="56" name="is1íḑè">
              <a:extLst>
                <a:ext uri="{FF2B5EF4-FFF2-40B4-BE49-F238E27FC236}">
                  <a16:creationId xmlns:a16="http://schemas.microsoft.com/office/drawing/2014/main" id="{1476085B-F23B-4E43-AD64-6F2040DBCCC0}"/>
                </a:ext>
              </a:extLst>
            </p:cNvPr>
            <p:cNvSpPr/>
            <p:nvPr/>
          </p:nvSpPr>
          <p:spPr>
            <a:xfrm>
              <a:off x="3470588" y="3663018"/>
              <a:ext cx="21475" cy="16360"/>
            </a:xfrm>
            <a:custGeom>
              <a:avLst/>
              <a:gdLst/>
              <a:ahLst/>
              <a:cxnLst>
                <a:cxn ang="0">
                  <a:pos x="wd2" y="hd2"/>
                </a:cxn>
                <a:cxn ang="5400000">
                  <a:pos x="wd2" y="hd2"/>
                </a:cxn>
                <a:cxn ang="10800000">
                  <a:pos x="wd2" y="hd2"/>
                </a:cxn>
                <a:cxn ang="16200000">
                  <a:pos x="wd2" y="hd2"/>
                </a:cxn>
              </a:cxnLst>
              <a:rect l="0" t="0" r="r" b="b"/>
              <a:pathLst>
                <a:path w="21600" h="21600" extrusionOk="0">
                  <a:moveTo>
                    <a:pt x="17020" y="3205"/>
                  </a:moveTo>
                  <a:lnTo>
                    <a:pt x="7333" y="0"/>
                  </a:lnTo>
                  <a:lnTo>
                    <a:pt x="0" y="8914"/>
                  </a:lnTo>
                  <a:lnTo>
                    <a:pt x="4730" y="21600"/>
                  </a:lnTo>
                  <a:lnTo>
                    <a:pt x="21600" y="21600"/>
                  </a:lnTo>
                  <a:lnTo>
                    <a:pt x="17020" y="3205"/>
                  </a:lnTo>
                  <a:close/>
                </a:path>
              </a:pathLst>
            </a:custGeom>
            <a:grpFill/>
            <a:ln w="25400" cap="flat">
              <a:noFill/>
              <a:prstDash val="solid"/>
              <a:miter lim="400000"/>
            </a:ln>
            <a:effectLst/>
          </p:spPr>
          <p:txBody>
            <a:bodyPr anchor="ctr"/>
            <a:lstStyle/>
            <a:p>
              <a:pPr algn="ctr"/>
              <a:endParaRPr/>
            </a:p>
          </p:txBody>
        </p:sp>
        <p:sp>
          <p:nvSpPr>
            <p:cNvPr id="57" name="íṧľîḓê">
              <a:extLst>
                <a:ext uri="{FF2B5EF4-FFF2-40B4-BE49-F238E27FC236}">
                  <a16:creationId xmlns:a16="http://schemas.microsoft.com/office/drawing/2014/main" id="{E16BBD75-4C62-4AEB-8F6A-C7BDEABD897C}"/>
                </a:ext>
              </a:extLst>
            </p:cNvPr>
            <p:cNvSpPr/>
            <p:nvPr/>
          </p:nvSpPr>
          <p:spPr>
            <a:xfrm>
              <a:off x="1825926" y="2244407"/>
              <a:ext cx="83204" cy="74274"/>
            </a:xfrm>
            <a:custGeom>
              <a:avLst/>
              <a:gdLst/>
              <a:ahLst/>
              <a:cxnLst>
                <a:cxn ang="0">
                  <a:pos x="wd2" y="hd2"/>
                </a:cxn>
                <a:cxn ang="5400000">
                  <a:pos x="wd2" y="hd2"/>
                </a:cxn>
                <a:cxn ang="10800000">
                  <a:pos x="wd2" y="hd2"/>
                </a:cxn>
                <a:cxn ang="16200000">
                  <a:pos x="wd2" y="hd2"/>
                </a:cxn>
              </a:cxnLst>
              <a:rect l="0" t="0" r="r" b="b"/>
              <a:pathLst>
                <a:path w="21600" h="21600" extrusionOk="0">
                  <a:moveTo>
                    <a:pt x="6117" y="146"/>
                  </a:moveTo>
                  <a:lnTo>
                    <a:pt x="3502" y="1771"/>
                  </a:lnTo>
                  <a:lnTo>
                    <a:pt x="0" y="2955"/>
                  </a:lnTo>
                  <a:lnTo>
                    <a:pt x="708" y="6398"/>
                  </a:lnTo>
                  <a:lnTo>
                    <a:pt x="4312" y="9886"/>
                  </a:lnTo>
                  <a:lnTo>
                    <a:pt x="5691" y="13614"/>
                  </a:lnTo>
                  <a:lnTo>
                    <a:pt x="8851" y="16257"/>
                  </a:lnTo>
                  <a:lnTo>
                    <a:pt x="10889" y="16698"/>
                  </a:lnTo>
                  <a:lnTo>
                    <a:pt x="13588" y="19994"/>
                  </a:lnTo>
                  <a:lnTo>
                    <a:pt x="16096" y="21600"/>
                  </a:lnTo>
                  <a:lnTo>
                    <a:pt x="19232" y="21600"/>
                  </a:lnTo>
                  <a:lnTo>
                    <a:pt x="21394" y="20279"/>
                  </a:lnTo>
                  <a:lnTo>
                    <a:pt x="21600" y="17056"/>
                  </a:lnTo>
                  <a:lnTo>
                    <a:pt x="19554" y="13017"/>
                  </a:lnTo>
                  <a:lnTo>
                    <a:pt x="19158" y="10006"/>
                  </a:lnTo>
                  <a:lnTo>
                    <a:pt x="17375" y="5389"/>
                  </a:lnTo>
                  <a:lnTo>
                    <a:pt x="14075" y="5389"/>
                  </a:lnTo>
                  <a:lnTo>
                    <a:pt x="11979" y="3782"/>
                  </a:lnTo>
                  <a:lnTo>
                    <a:pt x="10857" y="1891"/>
                  </a:lnTo>
                  <a:lnTo>
                    <a:pt x="8909" y="0"/>
                  </a:lnTo>
                  <a:lnTo>
                    <a:pt x="6117" y="146"/>
                  </a:lnTo>
                  <a:close/>
                </a:path>
              </a:pathLst>
            </a:custGeom>
            <a:grpFill/>
            <a:ln w="25400" cap="flat">
              <a:noFill/>
              <a:prstDash val="solid"/>
              <a:miter lim="400000"/>
            </a:ln>
            <a:effectLst/>
          </p:spPr>
          <p:txBody>
            <a:bodyPr anchor="ctr"/>
            <a:lstStyle/>
            <a:p>
              <a:pPr algn="ctr"/>
              <a:endParaRPr/>
            </a:p>
          </p:txBody>
        </p:sp>
        <p:sp>
          <p:nvSpPr>
            <p:cNvPr id="58" name="îslidé">
              <a:extLst>
                <a:ext uri="{FF2B5EF4-FFF2-40B4-BE49-F238E27FC236}">
                  <a16:creationId xmlns:a16="http://schemas.microsoft.com/office/drawing/2014/main" id="{931E4A56-C9F0-4A5E-A837-64DB11503066}"/>
                </a:ext>
              </a:extLst>
            </p:cNvPr>
            <p:cNvSpPr/>
            <p:nvPr/>
          </p:nvSpPr>
          <p:spPr>
            <a:xfrm>
              <a:off x="1823323" y="2056804"/>
              <a:ext cx="44228" cy="48802"/>
            </a:xfrm>
            <a:custGeom>
              <a:avLst/>
              <a:gdLst/>
              <a:ahLst/>
              <a:cxnLst>
                <a:cxn ang="0">
                  <a:pos x="wd2" y="hd2"/>
                </a:cxn>
                <a:cxn ang="5400000">
                  <a:pos x="wd2" y="hd2"/>
                </a:cxn>
                <a:cxn ang="10800000">
                  <a:pos x="wd2" y="hd2"/>
                </a:cxn>
                <a:cxn ang="16200000">
                  <a:pos x="wd2" y="hd2"/>
                </a:cxn>
              </a:cxnLst>
              <a:rect l="0" t="0" r="r" b="b"/>
              <a:pathLst>
                <a:path w="21600" h="21600" extrusionOk="0">
                  <a:moveTo>
                    <a:pt x="16460" y="0"/>
                  </a:moveTo>
                  <a:lnTo>
                    <a:pt x="9924" y="1900"/>
                  </a:lnTo>
                  <a:lnTo>
                    <a:pt x="4018" y="6719"/>
                  </a:lnTo>
                  <a:lnTo>
                    <a:pt x="0" y="11386"/>
                  </a:lnTo>
                  <a:lnTo>
                    <a:pt x="7069" y="14725"/>
                  </a:lnTo>
                  <a:lnTo>
                    <a:pt x="9537" y="18288"/>
                  </a:lnTo>
                  <a:lnTo>
                    <a:pt x="13341" y="21600"/>
                  </a:lnTo>
                  <a:lnTo>
                    <a:pt x="16742" y="19182"/>
                  </a:lnTo>
                  <a:lnTo>
                    <a:pt x="14522" y="13942"/>
                  </a:lnTo>
                  <a:lnTo>
                    <a:pt x="18621" y="10604"/>
                  </a:lnTo>
                  <a:lnTo>
                    <a:pt x="21600" y="4903"/>
                  </a:lnTo>
                  <a:lnTo>
                    <a:pt x="16460" y="0"/>
                  </a:lnTo>
                  <a:close/>
                </a:path>
              </a:pathLst>
            </a:custGeom>
            <a:grpFill/>
            <a:ln w="25400" cap="flat">
              <a:noFill/>
              <a:prstDash val="solid"/>
              <a:miter lim="400000"/>
            </a:ln>
            <a:effectLst/>
          </p:spPr>
          <p:txBody>
            <a:bodyPr anchor="ctr"/>
            <a:lstStyle/>
            <a:p>
              <a:pPr algn="ctr"/>
              <a:endParaRPr/>
            </a:p>
          </p:txBody>
        </p:sp>
        <p:sp>
          <p:nvSpPr>
            <p:cNvPr id="59" name="íṥľïḋê">
              <a:extLst>
                <a:ext uri="{FF2B5EF4-FFF2-40B4-BE49-F238E27FC236}">
                  <a16:creationId xmlns:a16="http://schemas.microsoft.com/office/drawing/2014/main" id="{65391F79-347F-4703-8D78-A3AF60C7FAC8}"/>
                </a:ext>
              </a:extLst>
            </p:cNvPr>
            <p:cNvSpPr/>
            <p:nvPr/>
          </p:nvSpPr>
          <p:spPr>
            <a:xfrm>
              <a:off x="1819244" y="2000935"/>
              <a:ext cx="28061" cy="42326"/>
            </a:xfrm>
            <a:custGeom>
              <a:avLst/>
              <a:gdLst/>
              <a:ahLst/>
              <a:cxnLst>
                <a:cxn ang="0">
                  <a:pos x="wd2" y="hd2"/>
                </a:cxn>
                <a:cxn ang="5400000">
                  <a:pos x="wd2" y="hd2"/>
                </a:cxn>
                <a:cxn ang="10800000">
                  <a:pos x="wd2" y="hd2"/>
                </a:cxn>
                <a:cxn ang="16200000">
                  <a:pos x="wd2" y="hd2"/>
                </a:cxn>
              </a:cxnLst>
              <a:rect l="0" t="0" r="r" b="b"/>
              <a:pathLst>
                <a:path w="21600" h="21600" extrusionOk="0">
                  <a:moveTo>
                    <a:pt x="15900" y="0"/>
                  </a:moveTo>
                  <a:lnTo>
                    <a:pt x="5701" y="4155"/>
                  </a:lnTo>
                  <a:lnTo>
                    <a:pt x="0" y="9292"/>
                  </a:lnTo>
                  <a:lnTo>
                    <a:pt x="3627" y="15800"/>
                  </a:lnTo>
                  <a:lnTo>
                    <a:pt x="11688" y="21600"/>
                  </a:lnTo>
                  <a:lnTo>
                    <a:pt x="13818" y="14011"/>
                  </a:lnTo>
                  <a:lnTo>
                    <a:pt x="14405" y="8116"/>
                  </a:lnTo>
                  <a:lnTo>
                    <a:pt x="21600" y="3749"/>
                  </a:lnTo>
                  <a:lnTo>
                    <a:pt x="15900" y="0"/>
                  </a:lnTo>
                  <a:close/>
                </a:path>
              </a:pathLst>
            </a:custGeom>
            <a:grpFill/>
            <a:ln w="25400" cap="flat">
              <a:noFill/>
              <a:prstDash val="solid"/>
              <a:miter lim="400000"/>
            </a:ln>
            <a:effectLst/>
          </p:spPr>
          <p:txBody>
            <a:bodyPr anchor="ctr"/>
            <a:lstStyle/>
            <a:p>
              <a:pPr algn="ctr"/>
              <a:endParaRPr/>
            </a:p>
          </p:txBody>
        </p:sp>
        <p:sp>
          <p:nvSpPr>
            <p:cNvPr id="60" name="íṡļiḓé">
              <a:extLst>
                <a:ext uri="{FF2B5EF4-FFF2-40B4-BE49-F238E27FC236}">
                  <a16:creationId xmlns:a16="http://schemas.microsoft.com/office/drawing/2014/main" id="{50B2E5B5-2C0A-4DFB-9F93-E3A889EB80B0}"/>
                </a:ext>
              </a:extLst>
            </p:cNvPr>
            <p:cNvSpPr/>
            <p:nvPr/>
          </p:nvSpPr>
          <p:spPr>
            <a:xfrm>
              <a:off x="1856174" y="2020886"/>
              <a:ext cx="16360" cy="18569"/>
            </a:xfrm>
            <a:custGeom>
              <a:avLst/>
              <a:gdLst/>
              <a:ahLst/>
              <a:cxnLst>
                <a:cxn ang="0">
                  <a:pos x="wd2" y="hd2"/>
                </a:cxn>
                <a:cxn ang="5400000">
                  <a:pos x="wd2" y="hd2"/>
                </a:cxn>
                <a:cxn ang="10800000">
                  <a:pos x="wd2" y="hd2"/>
                </a:cxn>
                <a:cxn ang="16200000">
                  <a:pos x="wd2" y="hd2"/>
                </a:cxn>
              </a:cxnLst>
              <a:rect l="0" t="0" r="r" b="b"/>
              <a:pathLst>
                <a:path w="21600" h="21600" extrusionOk="0">
                  <a:moveTo>
                    <a:pt x="6929" y="0"/>
                  </a:moveTo>
                  <a:lnTo>
                    <a:pt x="0" y="10904"/>
                  </a:lnTo>
                  <a:lnTo>
                    <a:pt x="10299" y="21600"/>
                  </a:lnTo>
                  <a:lnTo>
                    <a:pt x="21600" y="13776"/>
                  </a:lnTo>
                  <a:lnTo>
                    <a:pt x="19395" y="5259"/>
                  </a:lnTo>
                  <a:lnTo>
                    <a:pt x="6929" y="0"/>
                  </a:lnTo>
                  <a:close/>
                </a:path>
              </a:pathLst>
            </a:custGeom>
            <a:grpFill/>
            <a:ln w="25400" cap="flat">
              <a:noFill/>
              <a:prstDash val="solid"/>
              <a:miter lim="400000"/>
            </a:ln>
            <a:effectLst/>
          </p:spPr>
          <p:txBody>
            <a:bodyPr anchor="ctr"/>
            <a:lstStyle/>
            <a:p>
              <a:pPr algn="ctr"/>
              <a:endParaRPr/>
            </a:p>
          </p:txBody>
        </p:sp>
        <p:sp>
          <p:nvSpPr>
            <p:cNvPr id="61" name="išḷîďè">
              <a:extLst>
                <a:ext uri="{FF2B5EF4-FFF2-40B4-BE49-F238E27FC236}">
                  <a16:creationId xmlns:a16="http://schemas.microsoft.com/office/drawing/2014/main" id="{D724AABF-1B1B-40F0-A0A1-C12C425849F0}"/>
                </a:ext>
              </a:extLst>
            </p:cNvPr>
            <p:cNvSpPr/>
            <p:nvPr/>
          </p:nvSpPr>
          <p:spPr>
            <a:xfrm>
              <a:off x="1296107" y="1987859"/>
              <a:ext cx="91303" cy="42936"/>
            </a:xfrm>
            <a:custGeom>
              <a:avLst/>
              <a:gdLst/>
              <a:ahLst/>
              <a:cxnLst>
                <a:cxn ang="0">
                  <a:pos x="wd2" y="hd2"/>
                </a:cxn>
                <a:cxn ang="5400000">
                  <a:pos x="wd2" y="hd2"/>
                </a:cxn>
                <a:cxn ang="10800000">
                  <a:pos x="wd2" y="hd2"/>
                </a:cxn>
                <a:cxn ang="16200000">
                  <a:pos x="wd2" y="hd2"/>
                </a:cxn>
              </a:cxnLst>
              <a:rect l="0" t="0" r="r" b="b"/>
              <a:pathLst>
                <a:path w="21600" h="21600" extrusionOk="0">
                  <a:moveTo>
                    <a:pt x="17537" y="2831"/>
                  </a:moveTo>
                  <a:lnTo>
                    <a:pt x="10161" y="8024"/>
                  </a:lnTo>
                  <a:lnTo>
                    <a:pt x="5271" y="9340"/>
                  </a:lnTo>
                  <a:lnTo>
                    <a:pt x="1171" y="14295"/>
                  </a:lnTo>
                  <a:lnTo>
                    <a:pt x="0" y="19330"/>
                  </a:lnTo>
                  <a:lnTo>
                    <a:pt x="3343" y="21600"/>
                  </a:lnTo>
                  <a:lnTo>
                    <a:pt x="5268" y="16011"/>
                  </a:lnTo>
                  <a:lnTo>
                    <a:pt x="8817" y="15249"/>
                  </a:lnTo>
                  <a:lnTo>
                    <a:pt x="11276" y="14486"/>
                  </a:lnTo>
                  <a:lnTo>
                    <a:pt x="14517" y="13724"/>
                  </a:lnTo>
                  <a:lnTo>
                    <a:pt x="18179" y="13089"/>
                  </a:lnTo>
                  <a:lnTo>
                    <a:pt x="21239" y="5467"/>
                  </a:lnTo>
                  <a:lnTo>
                    <a:pt x="21600" y="162"/>
                  </a:lnTo>
                  <a:lnTo>
                    <a:pt x="19638" y="0"/>
                  </a:lnTo>
                  <a:lnTo>
                    <a:pt x="17537" y="2831"/>
                  </a:lnTo>
                  <a:close/>
                </a:path>
              </a:pathLst>
            </a:custGeom>
            <a:grpFill/>
            <a:ln w="25400" cap="flat">
              <a:noFill/>
              <a:prstDash val="solid"/>
              <a:miter lim="400000"/>
            </a:ln>
            <a:effectLst/>
          </p:spPr>
          <p:txBody>
            <a:bodyPr anchor="ctr"/>
            <a:lstStyle/>
            <a:p>
              <a:pPr algn="ctr"/>
              <a:endParaRPr/>
            </a:p>
          </p:txBody>
        </p:sp>
        <p:sp>
          <p:nvSpPr>
            <p:cNvPr id="62" name="îşľíḓè">
              <a:extLst>
                <a:ext uri="{FF2B5EF4-FFF2-40B4-BE49-F238E27FC236}">
                  <a16:creationId xmlns:a16="http://schemas.microsoft.com/office/drawing/2014/main" id="{B5257EFD-F01B-4908-A6A0-8CD92FA7A7CD}"/>
                </a:ext>
              </a:extLst>
            </p:cNvPr>
            <p:cNvSpPr/>
            <p:nvPr/>
          </p:nvSpPr>
          <p:spPr>
            <a:xfrm>
              <a:off x="2777576" y="3634434"/>
              <a:ext cx="1575803" cy="2366543"/>
            </a:xfrm>
            <a:custGeom>
              <a:avLst/>
              <a:gdLst/>
              <a:ahLst/>
              <a:cxnLst>
                <a:cxn ang="0">
                  <a:pos x="wd2" y="hd2"/>
                </a:cxn>
                <a:cxn ang="5400000">
                  <a:pos x="wd2" y="hd2"/>
                </a:cxn>
                <a:cxn ang="10800000">
                  <a:pos x="wd2" y="hd2"/>
                </a:cxn>
                <a:cxn ang="16200000">
                  <a:pos x="wd2" y="hd2"/>
                </a:cxn>
              </a:cxnLst>
              <a:rect l="0" t="0" r="r" b="b"/>
              <a:pathLst>
                <a:path w="21600" h="21600" extrusionOk="0">
                  <a:moveTo>
                    <a:pt x="869" y="1016"/>
                  </a:moveTo>
                  <a:lnTo>
                    <a:pt x="1153" y="974"/>
                  </a:lnTo>
                  <a:lnTo>
                    <a:pt x="1415" y="1017"/>
                  </a:lnTo>
                  <a:lnTo>
                    <a:pt x="1706" y="1125"/>
                  </a:lnTo>
                  <a:lnTo>
                    <a:pt x="1964" y="1238"/>
                  </a:lnTo>
                  <a:lnTo>
                    <a:pt x="2173" y="1355"/>
                  </a:lnTo>
                  <a:lnTo>
                    <a:pt x="2350" y="1292"/>
                  </a:lnTo>
                  <a:lnTo>
                    <a:pt x="2416" y="1193"/>
                  </a:lnTo>
                  <a:lnTo>
                    <a:pt x="2643" y="1138"/>
                  </a:lnTo>
                  <a:lnTo>
                    <a:pt x="2768" y="931"/>
                  </a:lnTo>
                  <a:lnTo>
                    <a:pt x="2901" y="758"/>
                  </a:lnTo>
                  <a:lnTo>
                    <a:pt x="3075" y="584"/>
                  </a:lnTo>
                  <a:lnTo>
                    <a:pt x="3218" y="492"/>
                  </a:lnTo>
                  <a:lnTo>
                    <a:pt x="3455" y="405"/>
                  </a:lnTo>
                  <a:lnTo>
                    <a:pt x="3796" y="405"/>
                  </a:lnTo>
                  <a:lnTo>
                    <a:pt x="4006" y="344"/>
                  </a:lnTo>
                  <a:lnTo>
                    <a:pt x="4155" y="198"/>
                  </a:lnTo>
                  <a:lnTo>
                    <a:pt x="4308" y="101"/>
                  </a:lnTo>
                  <a:lnTo>
                    <a:pt x="4423" y="34"/>
                  </a:lnTo>
                  <a:lnTo>
                    <a:pt x="4684" y="0"/>
                  </a:lnTo>
                  <a:lnTo>
                    <a:pt x="4809" y="15"/>
                  </a:lnTo>
                  <a:lnTo>
                    <a:pt x="4798" y="104"/>
                  </a:lnTo>
                  <a:lnTo>
                    <a:pt x="4656" y="173"/>
                  </a:lnTo>
                  <a:lnTo>
                    <a:pt x="4518" y="268"/>
                  </a:lnTo>
                  <a:lnTo>
                    <a:pt x="4466" y="385"/>
                  </a:lnTo>
                  <a:lnTo>
                    <a:pt x="4483" y="636"/>
                  </a:lnTo>
                  <a:lnTo>
                    <a:pt x="4421" y="753"/>
                  </a:lnTo>
                  <a:lnTo>
                    <a:pt x="4365" y="838"/>
                  </a:lnTo>
                  <a:lnTo>
                    <a:pt x="4375" y="962"/>
                  </a:lnTo>
                  <a:lnTo>
                    <a:pt x="4434" y="1080"/>
                  </a:lnTo>
                  <a:lnTo>
                    <a:pt x="4626" y="1121"/>
                  </a:lnTo>
                  <a:lnTo>
                    <a:pt x="4821" y="1077"/>
                  </a:lnTo>
                  <a:lnTo>
                    <a:pt x="4911" y="964"/>
                  </a:lnTo>
                  <a:lnTo>
                    <a:pt x="5012" y="863"/>
                  </a:lnTo>
                  <a:lnTo>
                    <a:pt x="5002" y="773"/>
                  </a:lnTo>
                  <a:lnTo>
                    <a:pt x="4888" y="691"/>
                  </a:lnTo>
                  <a:lnTo>
                    <a:pt x="4815" y="594"/>
                  </a:lnTo>
                  <a:cubicBezTo>
                    <a:pt x="4810" y="569"/>
                    <a:pt x="4818" y="543"/>
                    <a:pt x="4835" y="521"/>
                  </a:cubicBezTo>
                  <a:cubicBezTo>
                    <a:pt x="4864" y="484"/>
                    <a:pt x="4917" y="459"/>
                    <a:pt x="4977" y="452"/>
                  </a:cubicBezTo>
                  <a:lnTo>
                    <a:pt x="5179" y="365"/>
                  </a:lnTo>
                  <a:lnTo>
                    <a:pt x="5325" y="234"/>
                  </a:lnTo>
                  <a:lnTo>
                    <a:pt x="5398" y="181"/>
                  </a:lnTo>
                  <a:lnTo>
                    <a:pt x="5513" y="174"/>
                  </a:lnTo>
                  <a:lnTo>
                    <a:pt x="5658" y="180"/>
                  </a:lnTo>
                  <a:lnTo>
                    <a:pt x="5845" y="279"/>
                  </a:lnTo>
                  <a:lnTo>
                    <a:pt x="6023" y="369"/>
                  </a:lnTo>
                  <a:lnTo>
                    <a:pt x="6158" y="486"/>
                  </a:lnTo>
                  <a:lnTo>
                    <a:pt x="6252" y="563"/>
                  </a:lnTo>
                  <a:lnTo>
                    <a:pt x="6423" y="602"/>
                  </a:lnTo>
                  <a:lnTo>
                    <a:pt x="6760" y="602"/>
                  </a:lnTo>
                  <a:lnTo>
                    <a:pt x="6916" y="629"/>
                  </a:lnTo>
                  <a:lnTo>
                    <a:pt x="7159" y="658"/>
                  </a:lnTo>
                  <a:lnTo>
                    <a:pt x="7344" y="698"/>
                  </a:lnTo>
                  <a:lnTo>
                    <a:pt x="7500" y="785"/>
                  </a:lnTo>
                  <a:lnTo>
                    <a:pt x="7792" y="799"/>
                  </a:lnTo>
                  <a:lnTo>
                    <a:pt x="7945" y="725"/>
                  </a:lnTo>
                  <a:lnTo>
                    <a:pt x="8130" y="720"/>
                  </a:lnTo>
                  <a:lnTo>
                    <a:pt x="8343" y="741"/>
                  </a:lnTo>
                  <a:lnTo>
                    <a:pt x="8508" y="799"/>
                  </a:lnTo>
                  <a:lnTo>
                    <a:pt x="8764" y="882"/>
                  </a:lnTo>
                  <a:lnTo>
                    <a:pt x="9015" y="958"/>
                  </a:lnTo>
                  <a:lnTo>
                    <a:pt x="9502" y="1062"/>
                  </a:lnTo>
                  <a:lnTo>
                    <a:pt x="9816" y="1193"/>
                  </a:lnTo>
                  <a:lnTo>
                    <a:pt x="9920" y="1317"/>
                  </a:lnTo>
                  <a:lnTo>
                    <a:pt x="10065" y="1399"/>
                  </a:lnTo>
                  <a:lnTo>
                    <a:pt x="10187" y="1473"/>
                  </a:lnTo>
                  <a:lnTo>
                    <a:pt x="10298" y="1576"/>
                  </a:lnTo>
                  <a:lnTo>
                    <a:pt x="10339" y="1679"/>
                  </a:lnTo>
                  <a:lnTo>
                    <a:pt x="10420" y="1769"/>
                  </a:lnTo>
                  <a:lnTo>
                    <a:pt x="10606" y="1887"/>
                  </a:lnTo>
                  <a:lnTo>
                    <a:pt x="10818" y="2000"/>
                  </a:lnTo>
                  <a:lnTo>
                    <a:pt x="11131" y="2123"/>
                  </a:lnTo>
                  <a:lnTo>
                    <a:pt x="11378" y="2178"/>
                  </a:lnTo>
                  <a:lnTo>
                    <a:pt x="11636" y="2243"/>
                  </a:lnTo>
                  <a:lnTo>
                    <a:pt x="11855" y="2243"/>
                  </a:lnTo>
                  <a:lnTo>
                    <a:pt x="11990" y="2181"/>
                  </a:lnTo>
                  <a:lnTo>
                    <a:pt x="12151" y="2160"/>
                  </a:lnTo>
                  <a:lnTo>
                    <a:pt x="12356" y="2167"/>
                  </a:lnTo>
                  <a:lnTo>
                    <a:pt x="12575" y="2208"/>
                  </a:lnTo>
                  <a:lnTo>
                    <a:pt x="12707" y="2236"/>
                  </a:lnTo>
                  <a:lnTo>
                    <a:pt x="12850" y="2254"/>
                  </a:lnTo>
                  <a:lnTo>
                    <a:pt x="12964" y="2298"/>
                  </a:lnTo>
                  <a:lnTo>
                    <a:pt x="13152" y="2421"/>
                  </a:lnTo>
                  <a:lnTo>
                    <a:pt x="13358" y="2525"/>
                  </a:lnTo>
                  <a:lnTo>
                    <a:pt x="13524" y="2594"/>
                  </a:lnTo>
                  <a:lnTo>
                    <a:pt x="13666" y="2651"/>
                  </a:lnTo>
                  <a:lnTo>
                    <a:pt x="13833" y="2742"/>
                  </a:lnTo>
                  <a:lnTo>
                    <a:pt x="13864" y="2891"/>
                  </a:lnTo>
                  <a:lnTo>
                    <a:pt x="13944" y="3025"/>
                  </a:lnTo>
                  <a:lnTo>
                    <a:pt x="14059" y="3126"/>
                  </a:lnTo>
                  <a:lnTo>
                    <a:pt x="14069" y="3246"/>
                  </a:lnTo>
                  <a:lnTo>
                    <a:pt x="14069" y="3383"/>
                  </a:lnTo>
                  <a:lnTo>
                    <a:pt x="14132" y="3485"/>
                  </a:lnTo>
                  <a:lnTo>
                    <a:pt x="14251" y="3544"/>
                  </a:lnTo>
                  <a:lnTo>
                    <a:pt x="14376" y="3565"/>
                  </a:lnTo>
                  <a:lnTo>
                    <a:pt x="14376" y="3654"/>
                  </a:lnTo>
                  <a:lnTo>
                    <a:pt x="14240" y="3723"/>
                  </a:lnTo>
                  <a:lnTo>
                    <a:pt x="14147" y="3806"/>
                  </a:lnTo>
                  <a:lnTo>
                    <a:pt x="14084" y="3898"/>
                  </a:lnTo>
                  <a:lnTo>
                    <a:pt x="14021" y="4015"/>
                  </a:lnTo>
                  <a:lnTo>
                    <a:pt x="13892" y="4050"/>
                  </a:lnTo>
                  <a:lnTo>
                    <a:pt x="13746" y="4071"/>
                  </a:lnTo>
                  <a:lnTo>
                    <a:pt x="13369" y="4317"/>
                  </a:lnTo>
                  <a:lnTo>
                    <a:pt x="13296" y="4414"/>
                  </a:lnTo>
                  <a:lnTo>
                    <a:pt x="13244" y="4544"/>
                  </a:lnTo>
                  <a:lnTo>
                    <a:pt x="13401" y="4640"/>
                  </a:lnTo>
                  <a:lnTo>
                    <a:pt x="13638" y="4623"/>
                  </a:lnTo>
                  <a:lnTo>
                    <a:pt x="13801" y="4475"/>
                  </a:lnTo>
                  <a:lnTo>
                    <a:pt x="14058" y="4319"/>
                  </a:lnTo>
                  <a:lnTo>
                    <a:pt x="14233" y="4211"/>
                  </a:lnTo>
                  <a:lnTo>
                    <a:pt x="14406" y="4124"/>
                  </a:lnTo>
                  <a:lnTo>
                    <a:pt x="14601" y="4061"/>
                  </a:lnTo>
                  <a:lnTo>
                    <a:pt x="14824" y="4068"/>
                  </a:lnTo>
                  <a:lnTo>
                    <a:pt x="14950" y="4135"/>
                  </a:lnTo>
                  <a:lnTo>
                    <a:pt x="15054" y="4245"/>
                  </a:lnTo>
                  <a:lnTo>
                    <a:pt x="15054" y="4370"/>
                  </a:lnTo>
                  <a:lnTo>
                    <a:pt x="14772" y="4500"/>
                  </a:lnTo>
                  <a:lnTo>
                    <a:pt x="14706" y="4615"/>
                  </a:lnTo>
                  <a:lnTo>
                    <a:pt x="14561" y="4643"/>
                  </a:lnTo>
                  <a:lnTo>
                    <a:pt x="14369" y="4636"/>
                  </a:lnTo>
                  <a:lnTo>
                    <a:pt x="14297" y="4713"/>
                  </a:lnTo>
                  <a:lnTo>
                    <a:pt x="14537" y="4754"/>
                  </a:lnTo>
                  <a:lnTo>
                    <a:pt x="14713" y="4770"/>
                  </a:lnTo>
                  <a:lnTo>
                    <a:pt x="14862" y="4841"/>
                  </a:lnTo>
                  <a:lnTo>
                    <a:pt x="15018" y="4770"/>
                  </a:lnTo>
                  <a:lnTo>
                    <a:pt x="15209" y="4692"/>
                  </a:lnTo>
                  <a:lnTo>
                    <a:pt x="15341" y="4566"/>
                  </a:lnTo>
                  <a:lnTo>
                    <a:pt x="15491" y="4466"/>
                  </a:lnTo>
                  <a:lnTo>
                    <a:pt x="15585" y="4369"/>
                  </a:lnTo>
                  <a:lnTo>
                    <a:pt x="15846" y="4342"/>
                  </a:lnTo>
                  <a:lnTo>
                    <a:pt x="16125" y="4370"/>
                  </a:lnTo>
                  <a:lnTo>
                    <a:pt x="16397" y="4508"/>
                  </a:lnTo>
                  <a:lnTo>
                    <a:pt x="16564" y="4666"/>
                  </a:lnTo>
                  <a:lnTo>
                    <a:pt x="16723" y="4714"/>
                  </a:lnTo>
                  <a:lnTo>
                    <a:pt x="16844" y="4787"/>
                  </a:lnTo>
                  <a:lnTo>
                    <a:pt x="16817" y="4904"/>
                  </a:lnTo>
                  <a:lnTo>
                    <a:pt x="16751" y="4982"/>
                  </a:lnTo>
                  <a:lnTo>
                    <a:pt x="16751" y="5058"/>
                  </a:lnTo>
                  <a:lnTo>
                    <a:pt x="16949" y="5154"/>
                  </a:lnTo>
                  <a:lnTo>
                    <a:pt x="17116" y="5085"/>
                  </a:lnTo>
                  <a:lnTo>
                    <a:pt x="17332" y="5023"/>
                  </a:lnTo>
                  <a:lnTo>
                    <a:pt x="17569" y="4982"/>
                  </a:lnTo>
                  <a:lnTo>
                    <a:pt x="17746" y="4988"/>
                  </a:lnTo>
                  <a:lnTo>
                    <a:pt x="18122" y="5071"/>
                  </a:lnTo>
                  <a:lnTo>
                    <a:pt x="18476" y="5071"/>
                  </a:lnTo>
                  <a:lnTo>
                    <a:pt x="18914" y="5085"/>
                  </a:lnTo>
                  <a:lnTo>
                    <a:pt x="19226" y="5085"/>
                  </a:lnTo>
                  <a:lnTo>
                    <a:pt x="19337" y="5145"/>
                  </a:lnTo>
                  <a:lnTo>
                    <a:pt x="19417" y="5245"/>
                  </a:lnTo>
                  <a:lnTo>
                    <a:pt x="19501" y="5384"/>
                  </a:lnTo>
                  <a:lnTo>
                    <a:pt x="19761" y="5515"/>
                  </a:lnTo>
                  <a:lnTo>
                    <a:pt x="20054" y="5632"/>
                  </a:lnTo>
                  <a:lnTo>
                    <a:pt x="20337" y="5763"/>
                  </a:lnTo>
                  <a:lnTo>
                    <a:pt x="20783" y="5818"/>
                  </a:lnTo>
                  <a:lnTo>
                    <a:pt x="21128" y="5832"/>
                  </a:lnTo>
                  <a:lnTo>
                    <a:pt x="21292" y="5922"/>
                  </a:lnTo>
                  <a:lnTo>
                    <a:pt x="21413" y="6000"/>
                  </a:lnTo>
                  <a:lnTo>
                    <a:pt x="21423" y="6110"/>
                  </a:lnTo>
                  <a:lnTo>
                    <a:pt x="21496" y="6233"/>
                  </a:lnTo>
                  <a:lnTo>
                    <a:pt x="21548" y="6335"/>
                  </a:lnTo>
                  <a:lnTo>
                    <a:pt x="21600" y="6459"/>
                  </a:lnTo>
                  <a:lnTo>
                    <a:pt x="21558" y="6567"/>
                  </a:lnTo>
                  <a:lnTo>
                    <a:pt x="21548" y="6744"/>
                  </a:lnTo>
                  <a:lnTo>
                    <a:pt x="21416" y="6872"/>
                  </a:lnTo>
                  <a:lnTo>
                    <a:pt x="21374" y="6999"/>
                  </a:lnTo>
                  <a:lnTo>
                    <a:pt x="21263" y="7141"/>
                  </a:lnTo>
                  <a:lnTo>
                    <a:pt x="20928" y="7257"/>
                  </a:lnTo>
                  <a:lnTo>
                    <a:pt x="20782" y="7498"/>
                  </a:lnTo>
                  <a:lnTo>
                    <a:pt x="20646" y="7643"/>
                  </a:lnTo>
                  <a:lnTo>
                    <a:pt x="20531" y="7747"/>
                  </a:lnTo>
                  <a:lnTo>
                    <a:pt x="20344" y="7910"/>
                  </a:lnTo>
                  <a:lnTo>
                    <a:pt x="20222" y="8109"/>
                  </a:lnTo>
                  <a:lnTo>
                    <a:pt x="19916" y="8196"/>
                  </a:lnTo>
                  <a:lnTo>
                    <a:pt x="19700" y="8360"/>
                  </a:lnTo>
                  <a:lnTo>
                    <a:pt x="19631" y="8498"/>
                  </a:lnTo>
                  <a:lnTo>
                    <a:pt x="19615" y="8867"/>
                  </a:lnTo>
                  <a:lnTo>
                    <a:pt x="19688" y="9089"/>
                  </a:lnTo>
                  <a:lnTo>
                    <a:pt x="19688" y="9302"/>
                  </a:lnTo>
                  <a:lnTo>
                    <a:pt x="19705" y="9546"/>
                  </a:lnTo>
                  <a:lnTo>
                    <a:pt x="19653" y="9772"/>
                  </a:lnTo>
                  <a:lnTo>
                    <a:pt x="19612" y="9950"/>
                  </a:lnTo>
                  <a:lnTo>
                    <a:pt x="19580" y="10104"/>
                  </a:lnTo>
                  <a:lnTo>
                    <a:pt x="19559" y="10281"/>
                  </a:lnTo>
                  <a:lnTo>
                    <a:pt x="19465" y="10449"/>
                  </a:lnTo>
                  <a:lnTo>
                    <a:pt x="19444" y="10661"/>
                  </a:lnTo>
                  <a:lnTo>
                    <a:pt x="19392" y="10797"/>
                  </a:lnTo>
                  <a:lnTo>
                    <a:pt x="19322" y="10935"/>
                  </a:lnTo>
                  <a:lnTo>
                    <a:pt x="19169" y="11064"/>
                  </a:lnTo>
                  <a:lnTo>
                    <a:pt x="19033" y="11278"/>
                  </a:lnTo>
                  <a:lnTo>
                    <a:pt x="18939" y="11393"/>
                  </a:lnTo>
                  <a:lnTo>
                    <a:pt x="18834" y="11511"/>
                  </a:lnTo>
                  <a:lnTo>
                    <a:pt x="18562" y="11665"/>
                  </a:lnTo>
                  <a:lnTo>
                    <a:pt x="18374" y="11762"/>
                  </a:lnTo>
                  <a:lnTo>
                    <a:pt x="18204" y="11755"/>
                  </a:lnTo>
                  <a:lnTo>
                    <a:pt x="18048" y="11735"/>
                  </a:lnTo>
                  <a:lnTo>
                    <a:pt x="17899" y="11638"/>
                  </a:lnTo>
                  <a:lnTo>
                    <a:pt x="17642" y="11707"/>
                  </a:lnTo>
                  <a:lnTo>
                    <a:pt x="17486" y="11796"/>
                  </a:lnTo>
                  <a:lnTo>
                    <a:pt x="17287" y="11941"/>
                  </a:lnTo>
                  <a:lnTo>
                    <a:pt x="17134" y="11969"/>
                  </a:lnTo>
                  <a:lnTo>
                    <a:pt x="16834" y="12015"/>
                  </a:lnTo>
                  <a:lnTo>
                    <a:pt x="16534" y="12077"/>
                  </a:lnTo>
                  <a:lnTo>
                    <a:pt x="16336" y="12167"/>
                  </a:lnTo>
                  <a:lnTo>
                    <a:pt x="16253" y="12270"/>
                  </a:lnTo>
                  <a:lnTo>
                    <a:pt x="16183" y="12325"/>
                  </a:lnTo>
                  <a:lnTo>
                    <a:pt x="16027" y="12380"/>
                  </a:lnTo>
                  <a:lnTo>
                    <a:pt x="15916" y="12449"/>
                  </a:lnTo>
                  <a:lnTo>
                    <a:pt x="15804" y="12518"/>
                  </a:lnTo>
                  <a:lnTo>
                    <a:pt x="15752" y="12629"/>
                  </a:lnTo>
                  <a:lnTo>
                    <a:pt x="15825" y="12724"/>
                  </a:lnTo>
                  <a:lnTo>
                    <a:pt x="15951" y="12849"/>
                  </a:lnTo>
                  <a:lnTo>
                    <a:pt x="15961" y="13008"/>
                  </a:lnTo>
                  <a:lnTo>
                    <a:pt x="15909" y="13192"/>
                  </a:lnTo>
                  <a:cubicBezTo>
                    <a:pt x="15880" y="13228"/>
                    <a:pt x="15856" y="13266"/>
                    <a:pt x="15840" y="13305"/>
                  </a:cubicBezTo>
                  <a:cubicBezTo>
                    <a:pt x="15812" y="13369"/>
                    <a:pt x="15801" y="13436"/>
                    <a:pt x="15809" y="13503"/>
                  </a:cubicBezTo>
                  <a:lnTo>
                    <a:pt x="15600" y="13652"/>
                  </a:lnTo>
                  <a:lnTo>
                    <a:pt x="15506" y="13742"/>
                  </a:lnTo>
                  <a:lnTo>
                    <a:pt x="15464" y="13846"/>
                  </a:lnTo>
                  <a:cubicBezTo>
                    <a:pt x="15464" y="13877"/>
                    <a:pt x="15464" y="13909"/>
                    <a:pt x="15464" y="13940"/>
                  </a:cubicBezTo>
                  <a:cubicBezTo>
                    <a:pt x="15464" y="13981"/>
                    <a:pt x="15464" y="14022"/>
                    <a:pt x="15464" y="14062"/>
                  </a:cubicBezTo>
                  <a:lnTo>
                    <a:pt x="15412" y="14177"/>
                  </a:lnTo>
                  <a:lnTo>
                    <a:pt x="15183" y="14308"/>
                  </a:lnTo>
                  <a:lnTo>
                    <a:pt x="15048" y="14443"/>
                  </a:lnTo>
                  <a:lnTo>
                    <a:pt x="14923" y="14578"/>
                  </a:lnTo>
                  <a:lnTo>
                    <a:pt x="14840" y="14707"/>
                  </a:lnTo>
                  <a:lnTo>
                    <a:pt x="14760" y="14868"/>
                  </a:lnTo>
                  <a:cubicBezTo>
                    <a:pt x="14740" y="14913"/>
                    <a:pt x="14716" y="14957"/>
                    <a:pt x="14687" y="14999"/>
                  </a:cubicBezTo>
                  <a:cubicBezTo>
                    <a:pt x="14660" y="15040"/>
                    <a:pt x="14629" y="15079"/>
                    <a:pt x="14593" y="15116"/>
                  </a:cubicBezTo>
                  <a:cubicBezTo>
                    <a:pt x="14565" y="15141"/>
                    <a:pt x="14538" y="15167"/>
                    <a:pt x="14510" y="15192"/>
                  </a:cubicBezTo>
                  <a:cubicBezTo>
                    <a:pt x="14469" y="15230"/>
                    <a:pt x="14429" y="15268"/>
                    <a:pt x="14390" y="15307"/>
                  </a:cubicBezTo>
                  <a:lnTo>
                    <a:pt x="14233" y="15431"/>
                  </a:lnTo>
                  <a:lnTo>
                    <a:pt x="14123" y="15518"/>
                  </a:lnTo>
                  <a:lnTo>
                    <a:pt x="13872" y="15628"/>
                  </a:lnTo>
                  <a:lnTo>
                    <a:pt x="13685" y="15663"/>
                  </a:lnTo>
                  <a:lnTo>
                    <a:pt x="13323" y="15670"/>
                  </a:lnTo>
                  <a:cubicBezTo>
                    <a:pt x="13286" y="15642"/>
                    <a:pt x="13245" y="15616"/>
                    <a:pt x="13201" y="15594"/>
                  </a:cubicBezTo>
                  <a:cubicBezTo>
                    <a:pt x="13122" y="15553"/>
                    <a:pt x="13034" y="15521"/>
                    <a:pt x="12939" y="15499"/>
                  </a:cubicBezTo>
                  <a:cubicBezTo>
                    <a:pt x="12851" y="15484"/>
                    <a:pt x="12764" y="15467"/>
                    <a:pt x="12678" y="15446"/>
                  </a:cubicBezTo>
                  <a:cubicBezTo>
                    <a:pt x="12585" y="15424"/>
                    <a:pt x="12495" y="15399"/>
                    <a:pt x="12406" y="15370"/>
                  </a:cubicBezTo>
                  <a:lnTo>
                    <a:pt x="12194" y="15426"/>
                  </a:lnTo>
                  <a:lnTo>
                    <a:pt x="12131" y="15541"/>
                  </a:lnTo>
                  <a:lnTo>
                    <a:pt x="12255" y="15615"/>
                  </a:lnTo>
                  <a:lnTo>
                    <a:pt x="12467" y="15700"/>
                  </a:lnTo>
                  <a:lnTo>
                    <a:pt x="12582" y="15762"/>
                  </a:lnTo>
                  <a:lnTo>
                    <a:pt x="12768" y="15886"/>
                  </a:lnTo>
                  <a:lnTo>
                    <a:pt x="12977" y="16065"/>
                  </a:lnTo>
                  <a:lnTo>
                    <a:pt x="13103" y="16201"/>
                  </a:lnTo>
                  <a:lnTo>
                    <a:pt x="13155" y="16372"/>
                  </a:lnTo>
                  <a:lnTo>
                    <a:pt x="13166" y="16545"/>
                  </a:lnTo>
                  <a:lnTo>
                    <a:pt x="13065" y="16676"/>
                  </a:lnTo>
                  <a:lnTo>
                    <a:pt x="12951" y="16779"/>
                  </a:lnTo>
                  <a:lnTo>
                    <a:pt x="12787" y="16862"/>
                  </a:lnTo>
                  <a:lnTo>
                    <a:pt x="12505" y="16924"/>
                  </a:lnTo>
                  <a:lnTo>
                    <a:pt x="12122" y="16970"/>
                  </a:lnTo>
                  <a:lnTo>
                    <a:pt x="11913" y="16977"/>
                  </a:lnTo>
                  <a:lnTo>
                    <a:pt x="11733" y="16982"/>
                  </a:lnTo>
                  <a:lnTo>
                    <a:pt x="11430" y="16982"/>
                  </a:lnTo>
                  <a:lnTo>
                    <a:pt x="11263" y="17044"/>
                  </a:lnTo>
                  <a:lnTo>
                    <a:pt x="11232" y="17116"/>
                  </a:lnTo>
                  <a:lnTo>
                    <a:pt x="11252" y="17235"/>
                  </a:lnTo>
                  <a:lnTo>
                    <a:pt x="11325" y="17332"/>
                  </a:lnTo>
                  <a:lnTo>
                    <a:pt x="11412" y="17380"/>
                  </a:lnTo>
                  <a:lnTo>
                    <a:pt x="11444" y="17498"/>
                  </a:lnTo>
                  <a:lnTo>
                    <a:pt x="11382" y="17567"/>
                  </a:lnTo>
                  <a:cubicBezTo>
                    <a:pt x="11322" y="17599"/>
                    <a:pt x="11279" y="17642"/>
                    <a:pt x="11257" y="17691"/>
                  </a:cubicBezTo>
                  <a:cubicBezTo>
                    <a:pt x="11240" y="17729"/>
                    <a:pt x="11236" y="17769"/>
                    <a:pt x="11246" y="17808"/>
                  </a:cubicBezTo>
                  <a:lnTo>
                    <a:pt x="11037" y="17802"/>
                  </a:lnTo>
                  <a:lnTo>
                    <a:pt x="10881" y="17726"/>
                  </a:lnTo>
                  <a:lnTo>
                    <a:pt x="10631" y="17622"/>
                  </a:lnTo>
                  <a:lnTo>
                    <a:pt x="10349" y="17581"/>
                  </a:lnTo>
                  <a:lnTo>
                    <a:pt x="10141" y="17677"/>
                  </a:lnTo>
                  <a:lnTo>
                    <a:pt x="10273" y="17815"/>
                  </a:lnTo>
                  <a:cubicBezTo>
                    <a:pt x="10359" y="17814"/>
                    <a:pt x="10437" y="17847"/>
                    <a:pt x="10472" y="17898"/>
                  </a:cubicBezTo>
                  <a:cubicBezTo>
                    <a:pt x="10504" y="17944"/>
                    <a:pt x="10496" y="17997"/>
                    <a:pt x="10451" y="18038"/>
                  </a:cubicBezTo>
                  <a:lnTo>
                    <a:pt x="10493" y="18142"/>
                  </a:lnTo>
                  <a:cubicBezTo>
                    <a:pt x="10535" y="18167"/>
                    <a:pt x="10583" y="18187"/>
                    <a:pt x="10636" y="18201"/>
                  </a:cubicBezTo>
                  <a:cubicBezTo>
                    <a:pt x="10678" y="18213"/>
                    <a:pt x="10723" y="18220"/>
                    <a:pt x="10768" y="18222"/>
                  </a:cubicBezTo>
                  <a:cubicBezTo>
                    <a:pt x="10824" y="18185"/>
                    <a:pt x="10918" y="18194"/>
                    <a:pt x="10956" y="18240"/>
                  </a:cubicBezTo>
                  <a:cubicBezTo>
                    <a:pt x="10983" y="18272"/>
                    <a:pt x="10969" y="18313"/>
                    <a:pt x="10925" y="18335"/>
                  </a:cubicBezTo>
                  <a:lnTo>
                    <a:pt x="10783" y="18390"/>
                  </a:lnTo>
                  <a:lnTo>
                    <a:pt x="10605" y="18448"/>
                  </a:lnTo>
                  <a:lnTo>
                    <a:pt x="10615" y="18589"/>
                  </a:lnTo>
                  <a:lnTo>
                    <a:pt x="10663" y="18651"/>
                  </a:lnTo>
                  <a:lnTo>
                    <a:pt x="10698" y="18740"/>
                  </a:lnTo>
                  <a:lnTo>
                    <a:pt x="10479" y="18860"/>
                  </a:lnTo>
                  <a:lnTo>
                    <a:pt x="10374" y="19045"/>
                  </a:lnTo>
                  <a:lnTo>
                    <a:pt x="10259" y="19180"/>
                  </a:lnTo>
                  <a:lnTo>
                    <a:pt x="10218" y="19263"/>
                  </a:lnTo>
                  <a:lnTo>
                    <a:pt x="10283" y="19367"/>
                  </a:lnTo>
                  <a:lnTo>
                    <a:pt x="10350" y="19544"/>
                  </a:lnTo>
                  <a:lnTo>
                    <a:pt x="10506" y="19579"/>
                  </a:lnTo>
                  <a:lnTo>
                    <a:pt x="10637" y="19689"/>
                  </a:lnTo>
                  <a:lnTo>
                    <a:pt x="10913" y="19767"/>
                  </a:lnTo>
                  <a:lnTo>
                    <a:pt x="11066" y="19942"/>
                  </a:lnTo>
                  <a:lnTo>
                    <a:pt x="11076" y="20069"/>
                  </a:lnTo>
                  <a:lnTo>
                    <a:pt x="10982" y="20241"/>
                  </a:lnTo>
                  <a:lnTo>
                    <a:pt x="10888" y="20363"/>
                  </a:lnTo>
                  <a:lnTo>
                    <a:pt x="10794" y="20527"/>
                  </a:lnTo>
                  <a:cubicBezTo>
                    <a:pt x="10712" y="20573"/>
                    <a:pt x="10646" y="20631"/>
                    <a:pt x="10600" y="20695"/>
                  </a:cubicBezTo>
                  <a:cubicBezTo>
                    <a:pt x="10553" y="20760"/>
                    <a:pt x="10528" y="20830"/>
                    <a:pt x="10526" y="20902"/>
                  </a:cubicBezTo>
                  <a:lnTo>
                    <a:pt x="10613" y="21051"/>
                  </a:lnTo>
                  <a:lnTo>
                    <a:pt x="10773" y="21173"/>
                  </a:lnTo>
                  <a:lnTo>
                    <a:pt x="10846" y="21254"/>
                  </a:lnTo>
                  <a:lnTo>
                    <a:pt x="10766" y="21359"/>
                  </a:lnTo>
                  <a:lnTo>
                    <a:pt x="10536" y="21440"/>
                  </a:lnTo>
                  <a:lnTo>
                    <a:pt x="10441" y="21536"/>
                  </a:lnTo>
                  <a:lnTo>
                    <a:pt x="10363" y="21600"/>
                  </a:lnTo>
                  <a:lnTo>
                    <a:pt x="10225" y="21595"/>
                  </a:lnTo>
                  <a:lnTo>
                    <a:pt x="9866" y="21480"/>
                  </a:lnTo>
                  <a:lnTo>
                    <a:pt x="9668" y="21506"/>
                  </a:lnTo>
                  <a:lnTo>
                    <a:pt x="9418" y="21531"/>
                  </a:lnTo>
                  <a:cubicBezTo>
                    <a:pt x="9428" y="21473"/>
                    <a:pt x="9417" y="21413"/>
                    <a:pt x="9386" y="21358"/>
                  </a:cubicBezTo>
                  <a:cubicBezTo>
                    <a:pt x="9350" y="21293"/>
                    <a:pt x="9286" y="21235"/>
                    <a:pt x="9202" y="21193"/>
                  </a:cubicBezTo>
                  <a:lnTo>
                    <a:pt x="8951" y="21172"/>
                  </a:lnTo>
                  <a:lnTo>
                    <a:pt x="8767" y="21096"/>
                  </a:lnTo>
                  <a:lnTo>
                    <a:pt x="8767" y="20966"/>
                  </a:lnTo>
                  <a:lnTo>
                    <a:pt x="8683" y="20814"/>
                  </a:lnTo>
                  <a:cubicBezTo>
                    <a:pt x="8625" y="20767"/>
                    <a:pt x="8560" y="20724"/>
                    <a:pt x="8489" y="20687"/>
                  </a:cubicBezTo>
                  <a:cubicBezTo>
                    <a:pt x="8402" y="20641"/>
                    <a:pt x="8307" y="20603"/>
                    <a:pt x="8206" y="20574"/>
                  </a:cubicBezTo>
                  <a:lnTo>
                    <a:pt x="8185" y="20340"/>
                  </a:lnTo>
                  <a:lnTo>
                    <a:pt x="8175" y="20091"/>
                  </a:lnTo>
                  <a:cubicBezTo>
                    <a:pt x="8118" y="20014"/>
                    <a:pt x="8052" y="19940"/>
                    <a:pt x="7977" y="19870"/>
                  </a:cubicBezTo>
                  <a:cubicBezTo>
                    <a:pt x="7874" y="19775"/>
                    <a:pt x="7755" y="19687"/>
                    <a:pt x="7622" y="19610"/>
                  </a:cubicBezTo>
                  <a:lnTo>
                    <a:pt x="7320" y="19591"/>
                  </a:lnTo>
                  <a:lnTo>
                    <a:pt x="7269" y="19491"/>
                  </a:lnTo>
                  <a:lnTo>
                    <a:pt x="7463" y="19422"/>
                  </a:lnTo>
                  <a:lnTo>
                    <a:pt x="7664" y="19293"/>
                  </a:lnTo>
                  <a:lnTo>
                    <a:pt x="7747" y="19155"/>
                  </a:lnTo>
                  <a:lnTo>
                    <a:pt x="7862" y="18947"/>
                  </a:lnTo>
                  <a:cubicBezTo>
                    <a:pt x="7859" y="18904"/>
                    <a:pt x="7841" y="18862"/>
                    <a:pt x="7810" y="18823"/>
                  </a:cubicBezTo>
                  <a:cubicBezTo>
                    <a:pt x="7763" y="18763"/>
                    <a:pt x="7687" y="18715"/>
                    <a:pt x="7594" y="18687"/>
                  </a:cubicBezTo>
                  <a:lnTo>
                    <a:pt x="7373" y="18531"/>
                  </a:lnTo>
                  <a:lnTo>
                    <a:pt x="7344" y="18427"/>
                  </a:lnTo>
                  <a:lnTo>
                    <a:pt x="7439" y="18291"/>
                  </a:lnTo>
                  <a:lnTo>
                    <a:pt x="7386" y="18128"/>
                  </a:lnTo>
                  <a:lnTo>
                    <a:pt x="7191" y="18036"/>
                  </a:lnTo>
                  <a:lnTo>
                    <a:pt x="6944" y="17872"/>
                  </a:lnTo>
                  <a:lnTo>
                    <a:pt x="6714" y="17722"/>
                  </a:lnTo>
                  <a:lnTo>
                    <a:pt x="6595" y="17655"/>
                  </a:lnTo>
                  <a:lnTo>
                    <a:pt x="6560" y="17485"/>
                  </a:lnTo>
                  <a:lnTo>
                    <a:pt x="6414" y="17372"/>
                  </a:lnTo>
                  <a:lnTo>
                    <a:pt x="6518" y="17199"/>
                  </a:lnTo>
                  <a:cubicBezTo>
                    <a:pt x="6570" y="17154"/>
                    <a:pt x="6593" y="17097"/>
                    <a:pt x="6581" y="17041"/>
                  </a:cubicBezTo>
                  <a:cubicBezTo>
                    <a:pt x="6561" y="16948"/>
                    <a:pt x="6457" y="16874"/>
                    <a:pt x="6320" y="16854"/>
                  </a:cubicBezTo>
                  <a:cubicBezTo>
                    <a:pt x="6272" y="16815"/>
                    <a:pt x="6237" y="16771"/>
                    <a:pt x="6215" y="16723"/>
                  </a:cubicBezTo>
                  <a:cubicBezTo>
                    <a:pt x="6159" y="16596"/>
                    <a:pt x="6202" y="16460"/>
                    <a:pt x="6330" y="16359"/>
                  </a:cubicBezTo>
                  <a:lnTo>
                    <a:pt x="6341" y="16207"/>
                  </a:lnTo>
                  <a:lnTo>
                    <a:pt x="6351" y="16005"/>
                  </a:lnTo>
                  <a:lnTo>
                    <a:pt x="6382" y="15534"/>
                  </a:lnTo>
                  <a:lnTo>
                    <a:pt x="6330" y="14960"/>
                  </a:lnTo>
                  <a:lnTo>
                    <a:pt x="6125" y="14624"/>
                  </a:lnTo>
                  <a:lnTo>
                    <a:pt x="6027" y="14310"/>
                  </a:lnTo>
                  <a:lnTo>
                    <a:pt x="5975" y="14131"/>
                  </a:lnTo>
                  <a:lnTo>
                    <a:pt x="5925" y="13492"/>
                  </a:lnTo>
                  <a:lnTo>
                    <a:pt x="5925" y="13243"/>
                  </a:lnTo>
                  <a:lnTo>
                    <a:pt x="6020" y="13001"/>
                  </a:lnTo>
                  <a:lnTo>
                    <a:pt x="6020" y="12755"/>
                  </a:lnTo>
                  <a:lnTo>
                    <a:pt x="5988" y="12469"/>
                  </a:lnTo>
                  <a:lnTo>
                    <a:pt x="5842" y="12317"/>
                  </a:lnTo>
                  <a:lnTo>
                    <a:pt x="5852" y="12041"/>
                  </a:lnTo>
                  <a:lnTo>
                    <a:pt x="5936" y="11755"/>
                  </a:lnTo>
                  <a:cubicBezTo>
                    <a:pt x="5963" y="11665"/>
                    <a:pt x="5977" y="11573"/>
                    <a:pt x="5978" y="11481"/>
                  </a:cubicBezTo>
                  <a:cubicBezTo>
                    <a:pt x="5979" y="11396"/>
                    <a:pt x="5968" y="11310"/>
                    <a:pt x="5946" y="11226"/>
                  </a:cubicBezTo>
                  <a:cubicBezTo>
                    <a:pt x="5920" y="11122"/>
                    <a:pt x="5877" y="11021"/>
                    <a:pt x="5817" y="10924"/>
                  </a:cubicBezTo>
                  <a:lnTo>
                    <a:pt x="5790" y="10657"/>
                  </a:lnTo>
                  <a:lnTo>
                    <a:pt x="5779" y="10588"/>
                  </a:lnTo>
                  <a:lnTo>
                    <a:pt x="5509" y="10273"/>
                  </a:lnTo>
                  <a:lnTo>
                    <a:pt x="5325" y="10025"/>
                  </a:lnTo>
                  <a:lnTo>
                    <a:pt x="5081" y="9901"/>
                  </a:lnTo>
                  <a:lnTo>
                    <a:pt x="4781" y="9783"/>
                  </a:lnTo>
                  <a:lnTo>
                    <a:pt x="4531" y="9611"/>
                  </a:lnTo>
                  <a:lnTo>
                    <a:pt x="4066" y="9506"/>
                  </a:lnTo>
                  <a:lnTo>
                    <a:pt x="3850" y="9416"/>
                  </a:lnTo>
                  <a:lnTo>
                    <a:pt x="3285" y="9256"/>
                  </a:lnTo>
                  <a:lnTo>
                    <a:pt x="3020" y="9164"/>
                  </a:lnTo>
                  <a:lnTo>
                    <a:pt x="2895" y="8913"/>
                  </a:lnTo>
                  <a:lnTo>
                    <a:pt x="2752" y="8757"/>
                  </a:lnTo>
                  <a:lnTo>
                    <a:pt x="2626" y="8512"/>
                  </a:lnTo>
                  <a:lnTo>
                    <a:pt x="2494" y="8355"/>
                  </a:lnTo>
                  <a:lnTo>
                    <a:pt x="2330" y="8219"/>
                  </a:lnTo>
                  <a:lnTo>
                    <a:pt x="2088" y="8047"/>
                  </a:lnTo>
                  <a:lnTo>
                    <a:pt x="1976" y="7929"/>
                  </a:lnTo>
                  <a:lnTo>
                    <a:pt x="1868" y="7775"/>
                  </a:lnTo>
                  <a:lnTo>
                    <a:pt x="1712" y="7713"/>
                  </a:lnTo>
                  <a:lnTo>
                    <a:pt x="1653" y="7630"/>
                  </a:lnTo>
                  <a:lnTo>
                    <a:pt x="1559" y="7481"/>
                  </a:lnTo>
                  <a:lnTo>
                    <a:pt x="1499" y="7363"/>
                  </a:lnTo>
                  <a:lnTo>
                    <a:pt x="1332" y="7016"/>
                  </a:lnTo>
                  <a:lnTo>
                    <a:pt x="1207" y="6813"/>
                  </a:lnTo>
                  <a:lnTo>
                    <a:pt x="1072" y="6654"/>
                  </a:lnTo>
                  <a:lnTo>
                    <a:pt x="958" y="6495"/>
                  </a:lnTo>
                  <a:lnTo>
                    <a:pt x="875" y="6420"/>
                  </a:lnTo>
                  <a:lnTo>
                    <a:pt x="683" y="6358"/>
                  </a:lnTo>
                  <a:lnTo>
                    <a:pt x="577" y="6210"/>
                  </a:lnTo>
                  <a:lnTo>
                    <a:pt x="392" y="6183"/>
                  </a:lnTo>
                  <a:lnTo>
                    <a:pt x="270" y="6084"/>
                  </a:lnTo>
                  <a:lnTo>
                    <a:pt x="131" y="5971"/>
                  </a:lnTo>
                  <a:lnTo>
                    <a:pt x="79" y="5813"/>
                  </a:lnTo>
                  <a:lnTo>
                    <a:pt x="38" y="5703"/>
                  </a:lnTo>
                  <a:lnTo>
                    <a:pt x="0" y="5602"/>
                  </a:lnTo>
                  <a:lnTo>
                    <a:pt x="115" y="5491"/>
                  </a:lnTo>
                  <a:lnTo>
                    <a:pt x="268" y="5348"/>
                  </a:lnTo>
                  <a:lnTo>
                    <a:pt x="330" y="5224"/>
                  </a:lnTo>
                  <a:lnTo>
                    <a:pt x="413" y="5153"/>
                  </a:lnTo>
                  <a:lnTo>
                    <a:pt x="602" y="5033"/>
                  </a:lnTo>
                  <a:lnTo>
                    <a:pt x="653" y="4916"/>
                  </a:lnTo>
                  <a:lnTo>
                    <a:pt x="542" y="4875"/>
                  </a:lnTo>
                  <a:lnTo>
                    <a:pt x="350" y="4849"/>
                  </a:lnTo>
                  <a:lnTo>
                    <a:pt x="233" y="4810"/>
                  </a:lnTo>
                  <a:lnTo>
                    <a:pt x="173" y="4693"/>
                  </a:lnTo>
                  <a:lnTo>
                    <a:pt x="132" y="4589"/>
                  </a:lnTo>
                  <a:lnTo>
                    <a:pt x="236" y="4435"/>
                  </a:lnTo>
                  <a:lnTo>
                    <a:pt x="363" y="4279"/>
                  </a:lnTo>
                  <a:lnTo>
                    <a:pt x="464" y="4141"/>
                  </a:lnTo>
                  <a:lnTo>
                    <a:pt x="722" y="3881"/>
                  </a:lnTo>
                  <a:lnTo>
                    <a:pt x="837" y="3725"/>
                  </a:lnTo>
                  <a:lnTo>
                    <a:pt x="878" y="3658"/>
                  </a:lnTo>
                  <a:lnTo>
                    <a:pt x="1105" y="3567"/>
                  </a:lnTo>
                  <a:lnTo>
                    <a:pt x="1275" y="3479"/>
                  </a:lnTo>
                  <a:lnTo>
                    <a:pt x="1338" y="3385"/>
                  </a:lnTo>
                  <a:lnTo>
                    <a:pt x="1359" y="3295"/>
                  </a:lnTo>
                  <a:lnTo>
                    <a:pt x="1523" y="3201"/>
                  </a:lnTo>
                  <a:lnTo>
                    <a:pt x="1707" y="3072"/>
                  </a:lnTo>
                  <a:cubicBezTo>
                    <a:pt x="1704" y="3016"/>
                    <a:pt x="1711" y="2960"/>
                    <a:pt x="1728" y="2906"/>
                  </a:cubicBezTo>
                  <a:cubicBezTo>
                    <a:pt x="1757" y="2814"/>
                    <a:pt x="1814" y="2727"/>
                    <a:pt x="1896" y="2650"/>
                  </a:cubicBezTo>
                  <a:cubicBezTo>
                    <a:pt x="1934" y="2572"/>
                    <a:pt x="1938" y="2488"/>
                    <a:pt x="1906" y="2408"/>
                  </a:cubicBezTo>
                  <a:cubicBezTo>
                    <a:pt x="1883" y="2352"/>
                    <a:pt x="1843" y="2298"/>
                    <a:pt x="1815" y="2242"/>
                  </a:cubicBezTo>
                  <a:cubicBezTo>
                    <a:pt x="1790" y="2191"/>
                    <a:pt x="1776" y="2138"/>
                    <a:pt x="1774" y="2083"/>
                  </a:cubicBezTo>
                  <a:lnTo>
                    <a:pt x="1774" y="1918"/>
                  </a:lnTo>
                  <a:lnTo>
                    <a:pt x="1753" y="1808"/>
                  </a:lnTo>
                  <a:lnTo>
                    <a:pt x="1638" y="1656"/>
                  </a:lnTo>
                  <a:lnTo>
                    <a:pt x="1493" y="1546"/>
                  </a:lnTo>
                  <a:lnTo>
                    <a:pt x="1587" y="1443"/>
                  </a:lnTo>
                  <a:lnTo>
                    <a:pt x="1656" y="1310"/>
                  </a:lnTo>
                  <a:lnTo>
                    <a:pt x="1459" y="1199"/>
                  </a:lnTo>
                  <a:lnTo>
                    <a:pt x="1280" y="1115"/>
                  </a:lnTo>
                  <a:lnTo>
                    <a:pt x="1083" y="1076"/>
                  </a:lnTo>
                  <a:lnTo>
                    <a:pt x="968" y="1103"/>
                  </a:lnTo>
                  <a:lnTo>
                    <a:pt x="869" y="1016"/>
                  </a:lnTo>
                  <a:close/>
                </a:path>
              </a:pathLst>
            </a:custGeom>
            <a:grpFill/>
            <a:ln w="25400" cap="flat">
              <a:noFill/>
              <a:prstDash val="solid"/>
              <a:miter lim="400000"/>
            </a:ln>
            <a:effectLst/>
          </p:spPr>
          <p:txBody>
            <a:bodyPr anchor="ctr"/>
            <a:lstStyle/>
            <a:p>
              <a:pPr algn="ctr"/>
              <a:endParaRPr/>
            </a:p>
          </p:txBody>
        </p:sp>
        <p:sp>
          <p:nvSpPr>
            <p:cNvPr id="63" name="îšlîdê">
              <a:extLst>
                <a:ext uri="{FF2B5EF4-FFF2-40B4-BE49-F238E27FC236}">
                  <a16:creationId xmlns:a16="http://schemas.microsoft.com/office/drawing/2014/main" id="{6F6BD9A7-42A6-438C-AB75-9F6E2487654B}"/>
                </a:ext>
              </a:extLst>
            </p:cNvPr>
            <p:cNvSpPr/>
            <p:nvPr/>
          </p:nvSpPr>
          <p:spPr>
            <a:xfrm>
              <a:off x="3559421" y="5995142"/>
              <a:ext cx="176422" cy="89842"/>
            </a:xfrm>
            <a:custGeom>
              <a:avLst/>
              <a:gdLst/>
              <a:ahLst/>
              <a:cxnLst>
                <a:cxn ang="0">
                  <a:pos x="wd2" y="hd2"/>
                </a:cxn>
                <a:cxn ang="5400000">
                  <a:pos x="wd2" y="hd2"/>
                </a:cxn>
                <a:cxn ang="10800000">
                  <a:pos x="wd2" y="hd2"/>
                </a:cxn>
                <a:cxn ang="16200000">
                  <a:pos x="wd2" y="hd2"/>
                </a:cxn>
              </a:cxnLst>
              <a:rect l="0" t="0" r="r" b="b"/>
              <a:pathLst>
                <a:path w="21600" h="21600" extrusionOk="0">
                  <a:moveTo>
                    <a:pt x="7225" y="3547"/>
                  </a:moveTo>
                  <a:lnTo>
                    <a:pt x="5676" y="1626"/>
                  </a:lnTo>
                  <a:lnTo>
                    <a:pt x="3209" y="0"/>
                  </a:lnTo>
                  <a:lnTo>
                    <a:pt x="1176" y="1709"/>
                  </a:lnTo>
                  <a:lnTo>
                    <a:pt x="993" y="6809"/>
                  </a:lnTo>
                  <a:lnTo>
                    <a:pt x="0" y="9230"/>
                  </a:lnTo>
                  <a:lnTo>
                    <a:pt x="146" y="11719"/>
                  </a:lnTo>
                  <a:lnTo>
                    <a:pt x="1232" y="14861"/>
                  </a:lnTo>
                  <a:lnTo>
                    <a:pt x="2757" y="16925"/>
                  </a:lnTo>
                  <a:lnTo>
                    <a:pt x="4617" y="16204"/>
                  </a:lnTo>
                  <a:lnTo>
                    <a:pt x="6205" y="18329"/>
                  </a:lnTo>
                  <a:lnTo>
                    <a:pt x="6765" y="21054"/>
                  </a:lnTo>
                  <a:lnTo>
                    <a:pt x="9338" y="21600"/>
                  </a:lnTo>
                  <a:lnTo>
                    <a:pt x="10638" y="20386"/>
                  </a:lnTo>
                  <a:lnTo>
                    <a:pt x="12868" y="19239"/>
                  </a:lnTo>
                  <a:cubicBezTo>
                    <a:pt x="13384" y="19258"/>
                    <a:pt x="13900" y="19258"/>
                    <a:pt x="14416" y="19239"/>
                  </a:cubicBezTo>
                  <a:cubicBezTo>
                    <a:pt x="15695" y="19193"/>
                    <a:pt x="16971" y="19031"/>
                    <a:pt x="18242" y="18754"/>
                  </a:cubicBezTo>
                  <a:lnTo>
                    <a:pt x="20946" y="19118"/>
                  </a:lnTo>
                  <a:lnTo>
                    <a:pt x="21600" y="16751"/>
                  </a:lnTo>
                  <a:lnTo>
                    <a:pt x="17600" y="16751"/>
                  </a:lnTo>
                  <a:lnTo>
                    <a:pt x="14802" y="15172"/>
                  </a:lnTo>
                  <a:lnTo>
                    <a:pt x="13214" y="10808"/>
                  </a:lnTo>
                  <a:lnTo>
                    <a:pt x="11408" y="9230"/>
                  </a:lnTo>
                  <a:lnTo>
                    <a:pt x="9731" y="7773"/>
                  </a:lnTo>
                  <a:lnTo>
                    <a:pt x="9139" y="5420"/>
                  </a:lnTo>
                  <a:lnTo>
                    <a:pt x="7225" y="3547"/>
                  </a:lnTo>
                  <a:close/>
                </a:path>
              </a:pathLst>
            </a:custGeom>
            <a:grpFill/>
            <a:ln w="25400" cap="flat">
              <a:noFill/>
              <a:prstDash val="solid"/>
              <a:miter lim="400000"/>
            </a:ln>
            <a:effectLst/>
          </p:spPr>
          <p:txBody>
            <a:bodyPr anchor="ctr"/>
            <a:lstStyle/>
            <a:p>
              <a:pPr algn="ctr"/>
              <a:endParaRPr/>
            </a:p>
          </p:txBody>
        </p:sp>
        <p:sp>
          <p:nvSpPr>
            <p:cNvPr id="64" name="ïšļîḋé">
              <a:extLst>
                <a:ext uri="{FF2B5EF4-FFF2-40B4-BE49-F238E27FC236}">
                  <a16:creationId xmlns:a16="http://schemas.microsoft.com/office/drawing/2014/main" id="{44CDF1E2-815F-4114-9180-CEA9A2C68680}"/>
                </a:ext>
              </a:extLst>
            </p:cNvPr>
            <p:cNvSpPr/>
            <p:nvPr/>
          </p:nvSpPr>
          <p:spPr>
            <a:xfrm>
              <a:off x="3768642" y="5937250"/>
              <a:ext cx="110098" cy="46701"/>
            </a:xfrm>
            <a:custGeom>
              <a:avLst/>
              <a:gdLst/>
              <a:ahLst/>
              <a:cxnLst>
                <a:cxn ang="0">
                  <a:pos x="wd2" y="hd2"/>
                </a:cxn>
                <a:cxn ang="5400000">
                  <a:pos x="wd2" y="hd2"/>
                </a:cxn>
                <a:cxn ang="10800000">
                  <a:pos x="wd2" y="hd2"/>
                </a:cxn>
                <a:cxn ang="16200000">
                  <a:pos x="wd2" y="hd2"/>
                </a:cxn>
              </a:cxnLst>
              <a:rect l="0" t="0" r="r" b="b"/>
              <a:pathLst>
                <a:path w="21600" h="21600" extrusionOk="0">
                  <a:moveTo>
                    <a:pt x="8319" y="0"/>
                  </a:moveTo>
                  <a:lnTo>
                    <a:pt x="5026" y="117"/>
                  </a:lnTo>
                  <a:cubicBezTo>
                    <a:pt x="4484" y="789"/>
                    <a:pt x="3941" y="1461"/>
                    <a:pt x="3399" y="2133"/>
                  </a:cubicBezTo>
                  <a:cubicBezTo>
                    <a:pt x="2857" y="2805"/>
                    <a:pt x="2314" y="3476"/>
                    <a:pt x="1772" y="4148"/>
                  </a:cubicBezTo>
                  <a:lnTo>
                    <a:pt x="4542" y="6577"/>
                  </a:lnTo>
                  <a:lnTo>
                    <a:pt x="3392" y="10753"/>
                  </a:lnTo>
                  <a:lnTo>
                    <a:pt x="0" y="11818"/>
                  </a:lnTo>
                  <a:lnTo>
                    <a:pt x="1581" y="16345"/>
                  </a:lnTo>
                  <a:lnTo>
                    <a:pt x="4913" y="16345"/>
                  </a:lnTo>
                  <a:lnTo>
                    <a:pt x="7757" y="19148"/>
                  </a:lnTo>
                  <a:lnTo>
                    <a:pt x="10993" y="21600"/>
                  </a:lnTo>
                  <a:lnTo>
                    <a:pt x="14223" y="19761"/>
                  </a:lnTo>
                  <a:lnTo>
                    <a:pt x="14972" y="14169"/>
                  </a:lnTo>
                  <a:lnTo>
                    <a:pt x="18108" y="8928"/>
                  </a:lnTo>
                  <a:lnTo>
                    <a:pt x="21600" y="7876"/>
                  </a:lnTo>
                  <a:lnTo>
                    <a:pt x="21600" y="3101"/>
                  </a:lnTo>
                  <a:lnTo>
                    <a:pt x="19411" y="1378"/>
                  </a:lnTo>
                  <a:lnTo>
                    <a:pt x="17621" y="692"/>
                  </a:lnTo>
                  <a:lnTo>
                    <a:pt x="12533" y="2093"/>
                  </a:lnTo>
                  <a:lnTo>
                    <a:pt x="10949" y="1393"/>
                  </a:lnTo>
                  <a:lnTo>
                    <a:pt x="8319" y="0"/>
                  </a:lnTo>
                  <a:close/>
                </a:path>
              </a:pathLst>
            </a:custGeom>
            <a:grpFill/>
            <a:ln w="25400" cap="flat">
              <a:noFill/>
              <a:prstDash val="solid"/>
              <a:miter lim="400000"/>
            </a:ln>
            <a:effectLst/>
          </p:spPr>
          <p:txBody>
            <a:bodyPr anchor="ctr"/>
            <a:lstStyle/>
            <a:p>
              <a:pPr algn="ctr"/>
              <a:endParaRPr/>
            </a:p>
          </p:txBody>
        </p:sp>
        <p:sp>
          <p:nvSpPr>
            <p:cNvPr id="65" name="iśḻiḓe">
              <a:extLst>
                <a:ext uri="{FF2B5EF4-FFF2-40B4-BE49-F238E27FC236}">
                  <a16:creationId xmlns:a16="http://schemas.microsoft.com/office/drawing/2014/main" id="{FAC1C3EC-98C2-44C6-BD19-A0888605F03A}"/>
                </a:ext>
              </a:extLst>
            </p:cNvPr>
            <p:cNvSpPr/>
            <p:nvPr/>
          </p:nvSpPr>
          <p:spPr>
            <a:xfrm>
              <a:off x="4951705" y="2729160"/>
              <a:ext cx="2278812" cy="2612773"/>
            </a:xfrm>
            <a:custGeom>
              <a:avLst/>
              <a:gdLst/>
              <a:ahLst/>
              <a:cxnLst>
                <a:cxn ang="0">
                  <a:pos x="wd2" y="hd2"/>
                </a:cxn>
                <a:cxn ang="5400000">
                  <a:pos x="wd2" y="hd2"/>
                </a:cxn>
                <a:cxn ang="10800000">
                  <a:pos x="wd2" y="hd2"/>
                </a:cxn>
                <a:cxn ang="16200000">
                  <a:pos x="wd2" y="hd2"/>
                </a:cxn>
              </a:cxnLst>
              <a:rect l="0" t="0" r="r" b="b"/>
              <a:pathLst>
                <a:path w="21600" h="21600" extrusionOk="0">
                  <a:moveTo>
                    <a:pt x="11905" y="1298"/>
                  </a:moveTo>
                  <a:lnTo>
                    <a:pt x="11748" y="1386"/>
                  </a:lnTo>
                  <a:lnTo>
                    <a:pt x="11649" y="1501"/>
                  </a:lnTo>
                  <a:lnTo>
                    <a:pt x="11657" y="1629"/>
                  </a:lnTo>
                  <a:lnTo>
                    <a:pt x="11744" y="1704"/>
                  </a:lnTo>
                  <a:lnTo>
                    <a:pt x="11765" y="1791"/>
                  </a:lnTo>
                  <a:lnTo>
                    <a:pt x="11622" y="1915"/>
                  </a:lnTo>
                  <a:lnTo>
                    <a:pt x="11470" y="2059"/>
                  </a:lnTo>
                  <a:lnTo>
                    <a:pt x="11326" y="2096"/>
                  </a:lnTo>
                  <a:lnTo>
                    <a:pt x="11204" y="2078"/>
                  </a:lnTo>
                  <a:lnTo>
                    <a:pt x="10972" y="2003"/>
                  </a:lnTo>
                  <a:lnTo>
                    <a:pt x="10824" y="1959"/>
                  </a:lnTo>
                  <a:lnTo>
                    <a:pt x="10659" y="1903"/>
                  </a:lnTo>
                  <a:lnTo>
                    <a:pt x="10370" y="1872"/>
                  </a:lnTo>
                  <a:lnTo>
                    <a:pt x="10297" y="1768"/>
                  </a:lnTo>
                  <a:lnTo>
                    <a:pt x="10194" y="1639"/>
                  </a:lnTo>
                  <a:lnTo>
                    <a:pt x="10095" y="1497"/>
                  </a:lnTo>
                  <a:lnTo>
                    <a:pt x="9893" y="1403"/>
                  </a:lnTo>
                  <a:lnTo>
                    <a:pt x="9738" y="1384"/>
                  </a:lnTo>
                  <a:lnTo>
                    <a:pt x="9487" y="1311"/>
                  </a:lnTo>
                  <a:lnTo>
                    <a:pt x="9256" y="1311"/>
                  </a:lnTo>
                  <a:lnTo>
                    <a:pt x="9130" y="1305"/>
                  </a:lnTo>
                  <a:lnTo>
                    <a:pt x="9053" y="1242"/>
                  </a:lnTo>
                  <a:lnTo>
                    <a:pt x="8911" y="1116"/>
                  </a:lnTo>
                  <a:lnTo>
                    <a:pt x="8694" y="947"/>
                  </a:lnTo>
                  <a:lnTo>
                    <a:pt x="8636" y="849"/>
                  </a:lnTo>
                  <a:lnTo>
                    <a:pt x="8687" y="761"/>
                  </a:lnTo>
                  <a:lnTo>
                    <a:pt x="8783" y="636"/>
                  </a:lnTo>
                  <a:lnTo>
                    <a:pt x="8776" y="548"/>
                  </a:lnTo>
                  <a:lnTo>
                    <a:pt x="8704" y="440"/>
                  </a:lnTo>
                  <a:lnTo>
                    <a:pt x="8651" y="369"/>
                  </a:lnTo>
                  <a:lnTo>
                    <a:pt x="8694" y="263"/>
                  </a:lnTo>
                  <a:lnTo>
                    <a:pt x="8750" y="213"/>
                  </a:lnTo>
                  <a:lnTo>
                    <a:pt x="8706" y="120"/>
                  </a:lnTo>
                  <a:lnTo>
                    <a:pt x="8574" y="53"/>
                  </a:lnTo>
                  <a:lnTo>
                    <a:pt x="8473" y="0"/>
                  </a:lnTo>
                  <a:lnTo>
                    <a:pt x="8301" y="31"/>
                  </a:lnTo>
                  <a:lnTo>
                    <a:pt x="8038" y="123"/>
                  </a:lnTo>
                  <a:lnTo>
                    <a:pt x="7831" y="167"/>
                  </a:lnTo>
                  <a:lnTo>
                    <a:pt x="7542" y="204"/>
                  </a:lnTo>
                  <a:lnTo>
                    <a:pt x="7323" y="198"/>
                  </a:lnTo>
                  <a:lnTo>
                    <a:pt x="7098" y="173"/>
                  </a:lnTo>
                  <a:lnTo>
                    <a:pt x="6861" y="167"/>
                  </a:lnTo>
                  <a:lnTo>
                    <a:pt x="6735" y="117"/>
                  </a:lnTo>
                  <a:lnTo>
                    <a:pt x="6538" y="97"/>
                  </a:lnTo>
                  <a:lnTo>
                    <a:pt x="6405" y="145"/>
                  </a:lnTo>
                  <a:lnTo>
                    <a:pt x="6221" y="214"/>
                  </a:lnTo>
                  <a:lnTo>
                    <a:pt x="6040" y="224"/>
                  </a:lnTo>
                  <a:lnTo>
                    <a:pt x="5774" y="295"/>
                  </a:lnTo>
                  <a:lnTo>
                    <a:pt x="5503" y="389"/>
                  </a:lnTo>
                  <a:lnTo>
                    <a:pt x="5346" y="481"/>
                  </a:lnTo>
                  <a:lnTo>
                    <a:pt x="5159" y="600"/>
                  </a:lnTo>
                  <a:lnTo>
                    <a:pt x="4994" y="675"/>
                  </a:lnTo>
                  <a:cubicBezTo>
                    <a:pt x="4958" y="685"/>
                    <a:pt x="4920" y="693"/>
                    <a:pt x="4883" y="698"/>
                  </a:cubicBezTo>
                  <a:cubicBezTo>
                    <a:pt x="4849" y="702"/>
                    <a:pt x="4815" y="704"/>
                    <a:pt x="4781" y="704"/>
                  </a:cubicBezTo>
                  <a:lnTo>
                    <a:pt x="4638" y="679"/>
                  </a:lnTo>
                  <a:lnTo>
                    <a:pt x="4547" y="675"/>
                  </a:lnTo>
                  <a:lnTo>
                    <a:pt x="4417" y="656"/>
                  </a:lnTo>
                  <a:lnTo>
                    <a:pt x="4244" y="637"/>
                  </a:lnTo>
                  <a:lnTo>
                    <a:pt x="4107" y="562"/>
                  </a:lnTo>
                  <a:lnTo>
                    <a:pt x="3988" y="482"/>
                  </a:lnTo>
                  <a:lnTo>
                    <a:pt x="3873" y="464"/>
                  </a:lnTo>
                  <a:lnTo>
                    <a:pt x="3807" y="533"/>
                  </a:lnTo>
                  <a:lnTo>
                    <a:pt x="3751" y="608"/>
                  </a:lnTo>
                  <a:lnTo>
                    <a:pt x="3646" y="730"/>
                  </a:lnTo>
                  <a:lnTo>
                    <a:pt x="3580" y="822"/>
                  </a:lnTo>
                  <a:lnTo>
                    <a:pt x="3480" y="939"/>
                  </a:lnTo>
                  <a:lnTo>
                    <a:pt x="3212" y="1058"/>
                  </a:lnTo>
                  <a:lnTo>
                    <a:pt x="2961" y="1162"/>
                  </a:lnTo>
                  <a:lnTo>
                    <a:pt x="2882" y="1237"/>
                  </a:lnTo>
                  <a:lnTo>
                    <a:pt x="2746" y="1325"/>
                  </a:lnTo>
                  <a:lnTo>
                    <a:pt x="2704" y="1430"/>
                  </a:lnTo>
                  <a:lnTo>
                    <a:pt x="2576" y="1610"/>
                  </a:lnTo>
                  <a:lnTo>
                    <a:pt x="2532" y="1707"/>
                  </a:lnTo>
                  <a:lnTo>
                    <a:pt x="2566" y="1826"/>
                  </a:lnTo>
                  <a:lnTo>
                    <a:pt x="2573" y="1918"/>
                  </a:lnTo>
                  <a:lnTo>
                    <a:pt x="2559" y="2012"/>
                  </a:lnTo>
                  <a:lnTo>
                    <a:pt x="2544" y="2114"/>
                  </a:lnTo>
                  <a:lnTo>
                    <a:pt x="2436" y="2195"/>
                  </a:lnTo>
                  <a:lnTo>
                    <a:pt x="2269" y="2330"/>
                  </a:lnTo>
                  <a:lnTo>
                    <a:pt x="2091" y="2512"/>
                  </a:lnTo>
                  <a:lnTo>
                    <a:pt x="1925" y="2605"/>
                  </a:lnTo>
                  <a:lnTo>
                    <a:pt x="1797" y="2653"/>
                  </a:lnTo>
                  <a:lnTo>
                    <a:pt x="1647" y="2722"/>
                  </a:lnTo>
                  <a:lnTo>
                    <a:pt x="1528" y="2808"/>
                  </a:lnTo>
                  <a:lnTo>
                    <a:pt x="1447" y="2931"/>
                  </a:lnTo>
                  <a:lnTo>
                    <a:pt x="1332" y="3038"/>
                  </a:lnTo>
                  <a:lnTo>
                    <a:pt x="1173" y="3213"/>
                  </a:lnTo>
                  <a:lnTo>
                    <a:pt x="1030" y="3388"/>
                  </a:lnTo>
                  <a:lnTo>
                    <a:pt x="1001" y="3475"/>
                  </a:lnTo>
                  <a:lnTo>
                    <a:pt x="951" y="3585"/>
                  </a:lnTo>
                  <a:lnTo>
                    <a:pt x="845" y="3723"/>
                  </a:lnTo>
                  <a:lnTo>
                    <a:pt x="700" y="3911"/>
                  </a:lnTo>
                  <a:lnTo>
                    <a:pt x="650" y="4048"/>
                  </a:lnTo>
                  <a:lnTo>
                    <a:pt x="448" y="4221"/>
                  </a:lnTo>
                  <a:lnTo>
                    <a:pt x="410" y="4305"/>
                  </a:lnTo>
                  <a:lnTo>
                    <a:pt x="349" y="4386"/>
                  </a:lnTo>
                  <a:lnTo>
                    <a:pt x="269" y="4455"/>
                  </a:lnTo>
                  <a:lnTo>
                    <a:pt x="232" y="4555"/>
                  </a:lnTo>
                  <a:lnTo>
                    <a:pt x="226" y="4651"/>
                  </a:lnTo>
                  <a:lnTo>
                    <a:pt x="176" y="4751"/>
                  </a:lnTo>
                  <a:lnTo>
                    <a:pt x="156" y="4813"/>
                  </a:lnTo>
                  <a:lnTo>
                    <a:pt x="163" y="4888"/>
                  </a:lnTo>
                  <a:lnTo>
                    <a:pt x="220" y="5002"/>
                  </a:lnTo>
                  <a:lnTo>
                    <a:pt x="292" y="5121"/>
                  </a:lnTo>
                  <a:lnTo>
                    <a:pt x="355" y="5258"/>
                  </a:lnTo>
                  <a:lnTo>
                    <a:pt x="369" y="5453"/>
                  </a:lnTo>
                  <a:lnTo>
                    <a:pt x="413" y="5578"/>
                  </a:lnTo>
                  <a:lnTo>
                    <a:pt x="477" y="5695"/>
                  </a:lnTo>
                  <a:lnTo>
                    <a:pt x="477" y="5825"/>
                  </a:lnTo>
                  <a:lnTo>
                    <a:pt x="441" y="5944"/>
                  </a:lnTo>
                  <a:lnTo>
                    <a:pt x="405" y="6019"/>
                  </a:lnTo>
                  <a:lnTo>
                    <a:pt x="391" y="6138"/>
                  </a:lnTo>
                  <a:lnTo>
                    <a:pt x="355" y="6250"/>
                  </a:lnTo>
                  <a:lnTo>
                    <a:pt x="307" y="6323"/>
                  </a:lnTo>
                  <a:lnTo>
                    <a:pt x="280" y="6392"/>
                  </a:lnTo>
                  <a:lnTo>
                    <a:pt x="215" y="6459"/>
                  </a:lnTo>
                  <a:lnTo>
                    <a:pt x="80" y="6545"/>
                  </a:lnTo>
                  <a:lnTo>
                    <a:pt x="0" y="6592"/>
                  </a:lnTo>
                  <a:lnTo>
                    <a:pt x="0" y="6680"/>
                  </a:lnTo>
                  <a:lnTo>
                    <a:pt x="74" y="6761"/>
                  </a:lnTo>
                  <a:lnTo>
                    <a:pt x="110" y="6891"/>
                  </a:lnTo>
                  <a:lnTo>
                    <a:pt x="117" y="7009"/>
                  </a:lnTo>
                  <a:lnTo>
                    <a:pt x="117" y="7138"/>
                  </a:lnTo>
                  <a:lnTo>
                    <a:pt x="61" y="7213"/>
                  </a:lnTo>
                  <a:lnTo>
                    <a:pt x="54" y="7299"/>
                  </a:lnTo>
                  <a:lnTo>
                    <a:pt x="185" y="7447"/>
                  </a:lnTo>
                  <a:lnTo>
                    <a:pt x="278" y="7578"/>
                  </a:lnTo>
                  <a:lnTo>
                    <a:pt x="459" y="7641"/>
                  </a:lnTo>
                  <a:lnTo>
                    <a:pt x="564" y="7676"/>
                  </a:lnTo>
                  <a:lnTo>
                    <a:pt x="670" y="7805"/>
                  </a:lnTo>
                  <a:lnTo>
                    <a:pt x="779" y="7951"/>
                  </a:lnTo>
                  <a:lnTo>
                    <a:pt x="880" y="8070"/>
                  </a:lnTo>
                  <a:lnTo>
                    <a:pt x="1010" y="8216"/>
                  </a:lnTo>
                  <a:lnTo>
                    <a:pt x="1152" y="8321"/>
                  </a:lnTo>
                  <a:lnTo>
                    <a:pt x="1238" y="8546"/>
                  </a:lnTo>
                  <a:lnTo>
                    <a:pt x="1195" y="8652"/>
                  </a:lnTo>
                  <a:lnTo>
                    <a:pt x="1275" y="8822"/>
                  </a:lnTo>
                  <a:lnTo>
                    <a:pt x="1378" y="8876"/>
                  </a:lnTo>
                  <a:lnTo>
                    <a:pt x="1513" y="8970"/>
                  </a:lnTo>
                  <a:lnTo>
                    <a:pt x="1679" y="9195"/>
                  </a:lnTo>
                  <a:lnTo>
                    <a:pt x="1843" y="9284"/>
                  </a:lnTo>
                  <a:lnTo>
                    <a:pt x="1963" y="9393"/>
                  </a:lnTo>
                  <a:lnTo>
                    <a:pt x="2026" y="9468"/>
                  </a:lnTo>
                  <a:lnTo>
                    <a:pt x="2137" y="9480"/>
                  </a:lnTo>
                  <a:lnTo>
                    <a:pt x="2185" y="9549"/>
                  </a:lnTo>
                  <a:lnTo>
                    <a:pt x="2387" y="9655"/>
                  </a:lnTo>
                  <a:lnTo>
                    <a:pt x="2546" y="9722"/>
                  </a:lnTo>
                  <a:lnTo>
                    <a:pt x="2676" y="9747"/>
                  </a:lnTo>
                  <a:lnTo>
                    <a:pt x="2864" y="9801"/>
                  </a:lnTo>
                  <a:lnTo>
                    <a:pt x="3059" y="9868"/>
                  </a:lnTo>
                  <a:lnTo>
                    <a:pt x="3321" y="9803"/>
                  </a:lnTo>
                  <a:lnTo>
                    <a:pt x="3355" y="9741"/>
                  </a:lnTo>
                  <a:lnTo>
                    <a:pt x="3514" y="9656"/>
                  </a:lnTo>
                  <a:lnTo>
                    <a:pt x="3671" y="9656"/>
                  </a:lnTo>
                  <a:lnTo>
                    <a:pt x="3834" y="9668"/>
                  </a:lnTo>
                  <a:lnTo>
                    <a:pt x="3928" y="9618"/>
                  </a:lnTo>
                  <a:lnTo>
                    <a:pt x="4065" y="9568"/>
                  </a:lnTo>
                  <a:lnTo>
                    <a:pt x="4183" y="9562"/>
                  </a:lnTo>
                  <a:lnTo>
                    <a:pt x="4264" y="9614"/>
                  </a:lnTo>
                  <a:lnTo>
                    <a:pt x="4399" y="9656"/>
                  </a:lnTo>
                  <a:lnTo>
                    <a:pt x="4491" y="9685"/>
                  </a:lnTo>
                  <a:lnTo>
                    <a:pt x="4570" y="9697"/>
                  </a:lnTo>
                  <a:lnTo>
                    <a:pt x="4741" y="9672"/>
                  </a:lnTo>
                  <a:lnTo>
                    <a:pt x="4835" y="9629"/>
                  </a:lnTo>
                  <a:lnTo>
                    <a:pt x="5049" y="9541"/>
                  </a:lnTo>
                  <a:lnTo>
                    <a:pt x="5236" y="9504"/>
                  </a:lnTo>
                  <a:lnTo>
                    <a:pt x="5409" y="9560"/>
                  </a:lnTo>
                  <a:lnTo>
                    <a:pt x="5568" y="9456"/>
                  </a:lnTo>
                  <a:lnTo>
                    <a:pt x="5900" y="9362"/>
                  </a:lnTo>
                  <a:lnTo>
                    <a:pt x="6211" y="9231"/>
                  </a:lnTo>
                  <a:lnTo>
                    <a:pt x="6387" y="9206"/>
                  </a:lnTo>
                  <a:lnTo>
                    <a:pt x="6552" y="9212"/>
                  </a:lnTo>
                  <a:lnTo>
                    <a:pt x="6746" y="9256"/>
                  </a:lnTo>
                  <a:lnTo>
                    <a:pt x="6865" y="9309"/>
                  </a:lnTo>
                  <a:lnTo>
                    <a:pt x="6951" y="9353"/>
                  </a:lnTo>
                  <a:lnTo>
                    <a:pt x="7023" y="9409"/>
                  </a:lnTo>
                  <a:lnTo>
                    <a:pt x="7103" y="9497"/>
                  </a:lnTo>
                  <a:lnTo>
                    <a:pt x="7134" y="9626"/>
                  </a:lnTo>
                  <a:lnTo>
                    <a:pt x="7148" y="9713"/>
                  </a:lnTo>
                  <a:lnTo>
                    <a:pt x="7170" y="9786"/>
                  </a:lnTo>
                  <a:lnTo>
                    <a:pt x="7298" y="9829"/>
                  </a:lnTo>
                  <a:lnTo>
                    <a:pt x="7435" y="9842"/>
                  </a:lnTo>
                  <a:lnTo>
                    <a:pt x="7584" y="9786"/>
                  </a:lnTo>
                  <a:lnTo>
                    <a:pt x="7980" y="9786"/>
                  </a:lnTo>
                  <a:lnTo>
                    <a:pt x="8202" y="9831"/>
                  </a:lnTo>
                  <a:lnTo>
                    <a:pt x="8289" y="9968"/>
                  </a:lnTo>
                  <a:lnTo>
                    <a:pt x="8455" y="10087"/>
                  </a:lnTo>
                  <a:lnTo>
                    <a:pt x="8491" y="10175"/>
                  </a:lnTo>
                  <a:lnTo>
                    <a:pt x="8498" y="10323"/>
                  </a:lnTo>
                  <a:lnTo>
                    <a:pt x="8534" y="10455"/>
                  </a:lnTo>
                  <a:lnTo>
                    <a:pt x="8534" y="10567"/>
                  </a:lnTo>
                  <a:lnTo>
                    <a:pt x="8486" y="10709"/>
                  </a:lnTo>
                  <a:lnTo>
                    <a:pt x="8438" y="10877"/>
                  </a:lnTo>
                  <a:lnTo>
                    <a:pt x="8421" y="11008"/>
                  </a:lnTo>
                  <a:lnTo>
                    <a:pt x="8356" y="11171"/>
                  </a:lnTo>
                  <a:lnTo>
                    <a:pt x="8236" y="11348"/>
                  </a:lnTo>
                  <a:lnTo>
                    <a:pt x="8272" y="11458"/>
                  </a:lnTo>
                  <a:lnTo>
                    <a:pt x="8279" y="11545"/>
                  </a:lnTo>
                  <a:lnTo>
                    <a:pt x="8322" y="11649"/>
                  </a:lnTo>
                  <a:lnTo>
                    <a:pt x="8387" y="11749"/>
                  </a:lnTo>
                  <a:lnTo>
                    <a:pt x="8437" y="11849"/>
                  </a:lnTo>
                  <a:lnTo>
                    <a:pt x="8567" y="11936"/>
                  </a:lnTo>
                  <a:lnTo>
                    <a:pt x="8726" y="12086"/>
                  </a:lnTo>
                  <a:lnTo>
                    <a:pt x="8935" y="12257"/>
                  </a:lnTo>
                  <a:lnTo>
                    <a:pt x="9193" y="12538"/>
                  </a:lnTo>
                  <a:lnTo>
                    <a:pt x="9222" y="12667"/>
                  </a:lnTo>
                  <a:lnTo>
                    <a:pt x="9215" y="12761"/>
                  </a:lnTo>
                  <a:lnTo>
                    <a:pt x="9229" y="12888"/>
                  </a:lnTo>
                  <a:lnTo>
                    <a:pt x="9266" y="13018"/>
                  </a:lnTo>
                  <a:lnTo>
                    <a:pt x="9302" y="13097"/>
                  </a:lnTo>
                  <a:lnTo>
                    <a:pt x="9403" y="13235"/>
                  </a:lnTo>
                  <a:lnTo>
                    <a:pt x="9453" y="13316"/>
                  </a:lnTo>
                  <a:lnTo>
                    <a:pt x="9566" y="13451"/>
                  </a:lnTo>
                  <a:lnTo>
                    <a:pt x="9766" y="13633"/>
                  </a:lnTo>
                  <a:lnTo>
                    <a:pt x="9692" y="13770"/>
                  </a:lnTo>
                  <a:lnTo>
                    <a:pt x="9591" y="13864"/>
                  </a:lnTo>
                  <a:lnTo>
                    <a:pt x="9591" y="13962"/>
                  </a:lnTo>
                  <a:lnTo>
                    <a:pt x="9620" y="14068"/>
                  </a:lnTo>
                  <a:lnTo>
                    <a:pt x="9710" y="14197"/>
                  </a:lnTo>
                  <a:lnTo>
                    <a:pt x="9780" y="14370"/>
                  </a:lnTo>
                  <a:lnTo>
                    <a:pt x="9795" y="14482"/>
                  </a:lnTo>
                  <a:lnTo>
                    <a:pt x="9802" y="14588"/>
                  </a:lnTo>
                  <a:lnTo>
                    <a:pt x="9775" y="14690"/>
                  </a:lnTo>
                  <a:lnTo>
                    <a:pt x="9739" y="14790"/>
                  </a:lnTo>
                  <a:lnTo>
                    <a:pt x="9667" y="14915"/>
                  </a:lnTo>
                  <a:lnTo>
                    <a:pt x="9609" y="15021"/>
                  </a:lnTo>
                  <a:lnTo>
                    <a:pt x="9530" y="15132"/>
                  </a:lnTo>
                  <a:lnTo>
                    <a:pt x="9479" y="15276"/>
                  </a:lnTo>
                  <a:lnTo>
                    <a:pt x="9395" y="15443"/>
                  </a:lnTo>
                  <a:lnTo>
                    <a:pt x="9345" y="15586"/>
                  </a:lnTo>
                  <a:lnTo>
                    <a:pt x="9275" y="15726"/>
                  </a:lnTo>
                  <a:lnTo>
                    <a:pt x="9162" y="15929"/>
                  </a:lnTo>
                  <a:lnTo>
                    <a:pt x="9125" y="16060"/>
                  </a:lnTo>
                  <a:lnTo>
                    <a:pt x="9118" y="16204"/>
                  </a:lnTo>
                  <a:lnTo>
                    <a:pt x="9133" y="16366"/>
                  </a:lnTo>
                  <a:lnTo>
                    <a:pt x="9145" y="16558"/>
                  </a:lnTo>
                  <a:lnTo>
                    <a:pt x="9224" y="16671"/>
                  </a:lnTo>
                  <a:lnTo>
                    <a:pt x="9275" y="16808"/>
                  </a:lnTo>
                  <a:lnTo>
                    <a:pt x="9364" y="16942"/>
                  </a:lnTo>
                  <a:lnTo>
                    <a:pt x="9448" y="17105"/>
                  </a:lnTo>
                  <a:lnTo>
                    <a:pt x="9540" y="17211"/>
                  </a:lnTo>
                  <a:lnTo>
                    <a:pt x="9663" y="17399"/>
                  </a:lnTo>
                  <a:lnTo>
                    <a:pt x="9739" y="17522"/>
                  </a:lnTo>
                  <a:lnTo>
                    <a:pt x="9826" y="17703"/>
                  </a:lnTo>
                  <a:lnTo>
                    <a:pt x="9978" y="17846"/>
                  </a:lnTo>
                  <a:lnTo>
                    <a:pt x="9978" y="17984"/>
                  </a:lnTo>
                  <a:lnTo>
                    <a:pt x="10014" y="18084"/>
                  </a:lnTo>
                  <a:lnTo>
                    <a:pt x="10050" y="18240"/>
                  </a:lnTo>
                  <a:lnTo>
                    <a:pt x="10081" y="18371"/>
                  </a:lnTo>
                  <a:lnTo>
                    <a:pt x="10146" y="18518"/>
                  </a:lnTo>
                  <a:lnTo>
                    <a:pt x="10197" y="18674"/>
                  </a:lnTo>
                  <a:lnTo>
                    <a:pt x="10223" y="18828"/>
                  </a:lnTo>
                  <a:lnTo>
                    <a:pt x="10173" y="18905"/>
                  </a:lnTo>
                  <a:cubicBezTo>
                    <a:pt x="10161" y="18932"/>
                    <a:pt x="10154" y="18960"/>
                    <a:pt x="10154" y="18989"/>
                  </a:cubicBezTo>
                  <a:cubicBezTo>
                    <a:pt x="10153" y="19050"/>
                    <a:pt x="10179" y="19109"/>
                    <a:pt x="10226" y="19154"/>
                  </a:cubicBezTo>
                  <a:lnTo>
                    <a:pt x="10226" y="19319"/>
                  </a:lnTo>
                  <a:lnTo>
                    <a:pt x="10198" y="19438"/>
                  </a:lnTo>
                  <a:lnTo>
                    <a:pt x="10205" y="19569"/>
                  </a:lnTo>
                  <a:lnTo>
                    <a:pt x="10335" y="19657"/>
                  </a:lnTo>
                  <a:cubicBezTo>
                    <a:pt x="10390" y="19680"/>
                    <a:pt x="10437" y="19714"/>
                    <a:pt x="10472" y="19757"/>
                  </a:cubicBezTo>
                  <a:cubicBezTo>
                    <a:pt x="10520" y="19816"/>
                    <a:pt x="10543" y="19887"/>
                    <a:pt x="10537" y="19959"/>
                  </a:cubicBezTo>
                  <a:cubicBezTo>
                    <a:pt x="10582" y="19972"/>
                    <a:pt x="10624" y="19991"/>
                    <a:pt x="10662" y="20015"/>
                  </a:cubicBezTo>
                  <a:cubicBezTo>
                    <a:pt x="10709" y="20045"/>
                    <a:pt x="10748" y="20083"/>
                    <a:pt x="10778" y="20126"/>
                  </a:cubicBezTo>
                  <a:lnTo>
                    <a:pt x="10833" y="20258"/>
                  </a:lnTo>
                  <a:lnTo>
                    <a:pt x="10886" y="20443"/>
                  </a:lnTo>
                  <a:lnTo>
                    <a:pt x="10987" y="20518"/>
                  </a:lnTo>
                  <a:lnTo>
                    <a:pt x="11146" y="20643"/>
                  </a:lnTo>
                  <a:lnTo>
                    <a:pt x="11228" y="20767"/>
                  </a:lnTo>
                  <a:lnTo>
                    <a:pt x="11192" y="20929"/>
                  </a:lnTo>
                  <a:lnTo>
                    <a:pt x="11116" y="20979"/>
                  </a:lnTo>
                  <a:lnTo>
                    <a:pt x="11094" y="21129"/>
                  </a:lnTo>
                  <a:lnTo>
                    <a:pt x="11138" y="21216"/>
                  </a:lnTo>
                  <a:lnTo>
                    <a:pt x="11232" y="21323"/>
                  </a:lnTo>
                  <a:lnTo>
                    <a:pt x="11296" y="21404"/>
                  </a:lnTo>
                  <a:lnTo>
                    <a:pt x="11398" y="21485"/>
                  </a:lnTo>
                  <a:lnTo>
                    <a:pt x="11510" y="21554"/>
                  </a:lnTo>
                  <a:lnTo>
                    <a:pt x="11611" y="21600"/>
                  </a:lnTo>
                  <a:lnTo>
                    <a:pt x="11710" y="21587"/>
                  </a:lnTo>
                  <a:lnTo>
                    <a:pt x="11885" y="21519"/>
                  </a:lnTo>
                  <a:lnTo>
                    <a:pt x="12056" y="21494"/>
                  </a:lnTo>
                  <a:lnTo>
                    <a:pt x="12201" y="21481"/>
                  </a:lnTo>
                  <a:lnTo>
                    <a:pt x="12338" y="21418"/>
                  </a:lnTo>
                  <a:lnTo>
                    <a:pt x="12439" y="21389"/>
                  </a:lnTo>
                  <a:lnTo>
                    <a:pt x="12576" y="21408"/>
                  </a:lnTo>
                  <a:lnTo>
                    <a:pt x="12739" y="21426"/>
                  </a:lnTo>
                  <a:lnTo>
                    <a:pt x="12983" y="21499"/>
                  </a:lnTo>
                  <a:lnTo>
                    <a:pt x="13082" y="21535"/>
                  </a:lnTo>
                  <a:lnTo>
                    <a:pt x="13262" y="21478"/>
                  </a:lnTo>
                  <a:lnTo>
                    <a:pt x="13457" y="21372"/>
                  </a:lnTo>
                  <a:lnTo>
                    <a:pt x="13645" y="21293"/>
                  </a:lnTo>
                  <a:lnTo>
                    <a:pt x="13855" y="21184"/>
                  </a:lnTo>
                  <a:lnTo>
                    <a:pt x="13917" y="21124"/>
                  </a:lnTo>
                  <a:lnTo>
                    <a:pt x="14020" y="21112"/>
                  </a:lnTo>
                  <a:lnTo>
                    <a:pt x="14140" y="20918"/>
                  </a:lnTo>
                  <a:lnTo>
                    <a:pt x="14308" y="20841"/>
                  </a:lnTo>
                  <a:lnTo>
                    <a:pt x="14496" y="20735"/>
                  </a:lnTo>
                  <a:lnTo>
                    <a:pt x="14532" y="20631"/>
                  </a:lnTo>
                  <a:cubicBezTo>
                    <a:pt x="14523" y="20597"/>
                    <a:pt x="14526" y="20563"/>
                    <a:pt x="14539" y="20531"/>
                  </a:cubicBezTo>
                  <a:cubicBezTo>
                    <a:pt x="14575" y="20440"/>
                    <a:pt x="14682" y="20384"/>
                    <a:pt x="14791" y="20399"/>
                  </a:cubicBezTo>
                  <a:lnTo>
                    <a:pt x="14996" y="20260"/>
                  </a:lnTo>
                  <a:lnTo>
                    <a:pt x="15107" y="20110"/>
                  </a:lnTo>
                  <a:lnTo>
                    <a:pt x="15150" y="19997"/>
                  </a:lnTo>
                  <a:lnTo>
                    <a:pt x="15186" y="19891"/>
                  </a:lnTo>
                  <a:lnTo>
                    <a:pt x="15369" y="19792"/>
                  </a:lnTo>
                  <a:lnTo>
                    <a:pt x="15454" y="19676"/>
                  </a:lnTo>
                  <a:lnTo>
                    <a:pt x="15576" y="19632"/>
                  </a:lnTo>
                  <a:lnTo>
                    <a:pt x="15638" y="19549"/>
                  </a:lnTo>
                  <a:lnTo>
                    <a:pt x="15609" y="19482"/>
                  </a:lnTo>
                  <a:lnTo>
                    <a:pt x="15554" y="19391"/>
                  </a:lnTo>
                  <a:lnTo>
                    <a:pt x="15540" y="19247"/>
                  </a:lnTo>
                  <a:lnTo>
                    <a:pt x="15594" y="18994"/>
                  </a:lnTo>
                  <a:lnTo>
                    <a:pt x="15680" y="18888"/>
                  </a:lnTo>
                  <a:lnTo>
                    <a:pt x="15783" y="18803"/>
                  </a:lnTo>
                  <a:lnTo>
                    <a:pt x="16108" y="18703"/>
                  </a:lnTo>
                  <a:lnTo>
                    <a:pt x="16294" y="18563"/>
                  </a:lnTo>
                  <a:lnTo>
                    <a:pt x="16356" y="18482"/>
                  </a:lnTo>
                  <a:lnTo>
                    <a:pt x="16450" y="18419"/>
                  </a:lnTo>
                  <a:lnTo>
                    <a:pt x="16505" y="18325"/>
                  </a:lnTo>
                  <a:lnTo>
                    <a:pt x="16541" y="18156"/>
                  </a:lnTo>
                  <a:lnTo>
                    <a:pt x="16548" y="18043"/>
                  </a:lnTo>
                  <a:lnTo>
                    <a:pt x="16548" y="17943"/>
                  </a:lnTo>
                  <a:lnTo>
                    <a:pt x="16457" y="17826"/>
                  </a:lnTo>
                  <a:lnTo>
                    <a:pt x="16334" y="17670"/>
                  </a:lnTo>
                  <a:lnTo>
                    <a:pt x="16240" y="17538"/>
                  </a:lnTo>
                  <a:lnTo>
                    <a:pt x="16254" y="17449"/>
                  </a:lnTo>
                  <a:lnTo>
                    <a:pt x="16304" y="17342"/>
                  </a:lnTo>
                  <a:lnTo>
                    <a:pt x="16369" y="17186"/>
                  </a:lnTo>
                  <a:lnTo>
                    <a:pt x="16451" y="17084"/>
                  </a:lnTo>
                  <a:lnTo>
                    <a:pt x="16585" y="16986"/>
                  </a:lnTo>
                  <a:lnTo>
                    <a:pt x="16672" y="16904"/>
                  </a:lnTo>
                  <a:lnTo>
                    <a:pt x="16819" y="16806"/>
                  </a:lnTo>
                  <a:lnTo>
                    <a:pt x="16908" y="16667"/>
                  </a:lnTo>
                  <a:lnTo>
                    <a:pt x="17014" y="16561"/>
                  </a:lnTo>
                  <a:lnTo>
                    <a:pt x="17093" y="16492"/>
                  </a:lnTo>
                  <a:lnTo>
                    <a:pt x="17208" y="16417"/>
                  </a:lnTo>
                  <a:lnTo>
                    <a:pt x="17512" y="16298"/>
                  </a:lnTo>
                  <a:lnTo>
                    <a:pt x="17764" y="16173"/>
                  </a:lnTo>
                  <a:lnTo>
                    <a:pt x="17834" y="16130"/>
                  </a:lnTo>
                  <a:lnTo>
                    <a:pt x="18026" y="15990"/>
                  </a:lnTo>
                  <a:cubicBezTo>
                    <a:pt x="18082" y="15956"/>
                    <a:pt x="18127" y="15911"/>
                    <a:pt x="18157" y="15859"/>
                  </a:cubicBezTo>
                  <a:cubicBezTo>
                    <a:pt x="18188" y="15803"/>
                    <a:pt x="18203" y="15741"/>
                    <a:pt x="18198" y="15679"/>
                  </a:cubicBezTo>
                  <a:lnTo>
                    <a:pt x="18246" y="15583"/>
                  </a:lnTo>
                  <a:lnTo>
                    <a:pt x="18366" y="15487"/>
                  </a:lnTo>
                  <a:lnTo>
                    <a:pt x="18345" y="15404"/>
                  </a:lnTo>
                  <a:lnTo>
                    <a:pt x="18243" y="15335"/>
                  </a:lnTo>
                  <a:lnTo>
                    <a:pt x="18279" y="15179"/>
                  </a:lnTo>
                  <a:lnTo>
                    <a:pt x="18265" y="15022"/>
                  </a:lnTo>
                  <a:lnTo>
                    <a:pt x="18188" y="14962"/>
                  </a:lnTo>
                  <a:cubicBezTo>
                    <a:pt x="18199" y="14916"/>
                    <a:pt x="18210" y="14869"/>
                    <a:pt x="18222" y="14823"/>
                  </a:cubicBezTo>
                  <a:cubicBezTo>
                    <a:pt x="18246" y="14730"/>
                    <a:pt x="18271" y="14638"/>
                    <a:pt x="18299" y="14547"/>
                  </a:cubicBezTo>
                  <a:lnTo>
                    <a:pt x="18285" y="14483"/>
                  </a:lnTo>
                  <a:lnTo>
                    <a:pt x="18215" y="14353"/>
                  </a:lnTo>
                  <a:lnTo>
                    <a:pt x="18136" y="14247"/>
                  </a:lnTo>
                  <a:lnTo>
                    <a:pt x="18078" y="14173"/>
                  </a:lnTo>
                  <a:lnTo>
                    <a:pt x="18002" y="14079"/>
                  </a:lnTo>
                  <a:lnTo>
                    <a:pt x="17843" y="13717"/>
                  </a:lnTo>
                  <a:lnTo>
                    <a:pt x="17758" y="13550"/>
                  </a:lnTo>
                  <a:lnTo>
                    <a:pt x="17758" y="13409"/>
                  </a:lnTo>
                  <a:lnTo>
                    <a:pt x="17751" y="13334"/>
                  </a:lnTo>
                  <a:lnTo>
                    <a:pt x="17751" y="13215"/>
                  </a:lnTo>
                  <a:lnTo>
                    <a:pt x="17758" y="13096"/>
                  </a:lnTo>
                  <a:lnTo>
                    <a:pt x="17763" y="12990"/>
                  </a:lnTo>
                  <a:lnTo>
                    <a:pt x="17785" y="12871"/>
                  </a:lnTo>
                  <a:lnTo>
                    <a:pt x="17806" y="12777"/>
                  </a:lnTo>
                  <a:lnTo>
                    <a:pt x="17847" y="12656"/>
                  </a:lnTo>
                  <a:lnTo>
                    <a:pt x="17869" y="12508"/>
                  </a:lnTo>
                  <a:lnTo>
                    <a:pt x="17948" y="12397"/>
                  </a:lnTo>
                  <a:lnTo>
                    <a:pt x="17975" y="12341"/>
                  </a:lnTo>
                  <a:lnTo>
                    <a:pt x="18025" y="12266"/>
                  </a:lnTo>
                  <a:lnTo>
                    <a:pt x="18119" y="12160"/>
                  </a:lnTo>
                  <a:lnTo>
                    <a:pt x="18213" y="12103"/>
                  </a:lnTo>
                  <a:lnTo>
                    <a:pt x="18266" y="11989"/>
                  </a:lnTo>
                  <a:lnTo>
                    <a:pt x="18374" y="11916"/>
                  </a:lnTo>
                  <a:lnTo>
                    <a:pt x="18483" y="11840"/>
                  </a:lnTo>
                  <a:lnTo>
                    <a:pt x="18706" y="11666"/>
                  </a:lnTo>
                  <a:lnTo>
                    <a:pt x="18844" y="11494"/>
                  </a:lnTo>
                  <a:lnTo>
                    <a:pt x="18938" y="11331"/>
                  </a:lnTo>
                  <a:lnTo>
                    <a:pt x="19010" y="11281"/>
                  </a:lnTo>
                  <a:lnTo>
                    <a:pt x="19096" y="11194"/>
                  </a:lnTo>
                  <a:lnTo>
                    <a:pt x="19175" y="11131"/>
                  </a:lnTo>
                  <a:lnTo>
                    <a:pt x="19282" y="10996"/>
                  </a:lnTo>
                  <a:lnTo>
                    <a:pt x="19324" y="10940"/>
                  </a:lnTo>
                  <a:lnTo>
                    <a:pt x="19389" y="10872"/>
                  </a:lnTo>
                  <a:lnTo>
                    <a:pt x="19524" y="10799"/>
                  </a:lnTo>
                  <a:cubicBezTo>
                    <a:pt x="19560" y="10778"/>
                    <a:pt x="19596" y="10758"/>
                    <a:pt x="19632" y="10738"/>
                  </a:cubicBezTo>
                  <a:cubicBezTo>
                    <a:pt x="19704" y="10698"/>
                    <a:pt x="19777" y="10660"/>
                    <a:pt x="19849" y="10621"/>
                  </a:cubicBezTo>
                  <a:lnTo>
                    <a:pt x="20001" y="10465"/>
                  </a:lnTo>
                  <a:lnTo>
                    <a:pt x="20044" y="10396"/>
                  </a:lnTo>
                  <a:lnTo>
                    <a:pt x="20145" y="10315"/>
                  </a:lnTo>
                  <a:lnTo>
                    <a:pt x="20246" y="10299"/>
                  </a:lnTo>
                  <a:lnTo>
                    <a:pt x="20366" y="10226"/>
                  </a:lnTo>
                  <a:cubicBezTo>
                    <a:pt x="20392" y="10200"/>
                    <a:pt x="20416" y="10173"/>
                    <a:pt x="20438" y="10144"/>
                  </a:cubicBezTo>
                  <a:cubicBezTo>
                    <a:pt x="20479" y="10093"/>
                    <a:pt x="20513" y="10038"/>
                    <a:pt x="20540" y="9980"/>
                  </a:cubicBezTo>
                  <a:lnTo>
                    <a:pt x="20669" y="9713"/>
                  </a:lnTo>
                  <a:lnTo>
                    <a:pt x="20763" y="9627"/>
                  </a:lnTo>
                  <a:lnTo>
                    <a:pt x="20850" y="9427"/>
                  </a:lnTo>
                  <a:lnTo>
                    <a:pt x="21053" y="9218"/>
                  </a:lnTo>
                  <a:lnTo>
                    <a:pt x="21106" y="9101"/>
                  </a:lnTo>
                  <a:lnTo>
                    <a:pt x="21207" y="8920"/>
                  </a:lnTo>
                  <a:lnTo>
                    <a:pt x="21270" y="8773"/>
                  </a:lnTo>
                  <a:lnTo>
                    <a:pt x="21345" y="8665"/>
                  </a:lnTo>
                  <a:lnTo>
                    <a:pt x="21410" y="8525"/>
                  </a:lnTo>
                  <a:lnTo>
                    <a:pt x="21516" y="8371"/>
                  </a:lnTo>
                  <a:lnTo>
                    <a:pt x="21542" y="8283"/>
                  </a:lnTo>
                  <a:lnTo>
                    <a:pt x="21600" y="8133"/>
                  </a:lnTo>
                  <a:lnTo>
                    <a:pt x="21600" y="8003"/>
                  </a:lnTo>
                  <a:lnTo>
                    <a:pt x="21549" y="7866"/>
                  </a:lnTo>
                  <a:lnTo>
                    <a:pt x="21537" y="7747"/>
                  </a:lnTo>
                  <a:lnTo>
                    <a:pt x="21528" y="7674"/>
                  </a:lnTo>
                  <a:lnTo>
                    <a:pt x="21417" y="7699"/>
                  </a:lnTo>
                  <a:lnTo>
                    <a:pt x="21251" y="7784"/>
                  </a:lnTo>
                  <a:lnTo>
                    <a:pt x="20953" y="7845"/>
                  </a:lnTo>
                  <a:lnTo>
                    <a:pt x="20707" y="7931"/>
                  </a:lnTo>
                  <a:lnTo>
                    <a:pt x="20477" y="7987"/>
                  </a:lnTo>
                  <a:lnTo>
                    <a:pt x="20226" y="8018"/>
                  </a:lnTo>
                  <a:lnTo>
                    <a:pt x="19987" y="8056"/>
                  </a:lnTo>
                  <a:lnTo>
                    <a:pt x="19901" y="8080"/>
                  </a:lnTo>
                  <a:lnTo>
                    <a:pt x="19803" y="8110"/>
                  </a:lnTo>
                  <a:lnTo>
                    <a:pt x="19721" y="8116"/>
                  </a:lnTo>
                  <a:lnTo>
                    <a:pt x="19490" y="8053"/>
                  </a:lnTo>
                  <a:cubicBezTo>
                    <a:pt x="19444" y="8038"/>
                    <a:pt x="19398" y="8022"/>
                    <a:pt x="19353" y="8003"/>
                  </a:cubicBezTo>
                  <a:cubicBezTo>
                    <a:pt x="19301" y="7982"/>
                    <a:pt x="19251" y="7959"/>
                    <a:pt x="19202" y="7934"/>
                  </a:cubicBezTo>
                  <a:lnTo>
                    <a:pt x="19144" y="7826"/>
                  </a:lnTo>
                  <a:lnTo>
                    <a:pt x="19151" y="7733"/>
                  </a:lnTo>
                  <a:lnTo>
                    <a:pt x="19091" y="7614"/>
                  </a:lnTo>
                  <a:lnTo>
                    <a:pt x="19062" y="7518"/>
                  </a:lnTo>
                  <a:lnTo>
                    <a:pt x="19033" y="7385"/>
                  </a:lnTo>
                  <a:lnTo>
                    <a:pt x="18862" y="7343"/>
                  </a:lnTo>
                  <a:lnTo>
                    <a:pt x="18805" y="7243"/>
                  </a:lnTo>
                  <a:lnTo>
                    <a:pt x="18783" y="7166"/>
                  </a:lnTo>
                  <a:lnTo>
                    <a:pt x="18632" y="7073"/>
                  </a:lnTo>
                  <a:lnTo>
                    <a:pt x="18605" y="6906"/>
                  </a:lnTo>
                  <a:lnTo>
                    <a:pt x="18519" y="6897"/>
                  </a:lnTo>
                  <a:cubicBezTo>
                    <a:pt x="18492" y="6901"/>
                    <a:pt x="18465" y="6899"/>
                    <a:pt x="18439" y="6891"/>
                  </a:cubicBezTo>
                  <a:cubicBezTo>
                    <a:pt x="18366" y="6870"/>
                    <a:pt x="18317" y="6810"/>
                    <a:pt x="18316" y="6743"/>
                  </a:cubicBezTo>
                  <a:cubicBezTo>
                    <a:pt x="18302" y="6716"/>
                    <a:pt x="18283" y="6691"/>
                    <a:pt x="18261" y="6668"/>
                  </a:cubicBezTo>
                  <a:cubicBezTo>
                    <a:pt x="18230" y="6636"/>
                    <a:pt x="18191" y="6609"/>
                    <a:pt x="18148" y="6589"/>
                  </a:cubicBezTo>
                  <a:lnTo>
                    <a:pt x="18030" y="6579"/>
                  </a:lnTo>
                  <a:lnTo>
                    <a:pt x="17871" y="6463"/>
                  </a:lnTo>
                  <a:lnTo>
                    <a:pt x="17771" y="6355"/>
                  </a:lnTo>
                  <a:lnTo>
                    <a:pt x="17792" y="6247"/>
                  </a:lnTo>
                  <a:lnTo>
                    <a:pt x="17721" y="6185"/>
                  </a:lnTo>
                  <a:lnTo>
                    <a:pt x="17713" y="6087"/>
                  </a:lnTo>
                  <a:lnTo>
                    <a:pt x="17711" y="6006"/>
                  </a:lnTo>
                  <a:lnTo>
                    <a:pt x="17530" y="5908"/>
                  </a:lnTo>
                  <a:lnTo>
                    <a:pt x="17460" y="5774"/>
                  </a:lnTo>
                  <a:lnTo>
                    <a:pt x="17402" y="5680"/>
                  </a:lnTo>
                  <a:lnTo>
                    <a:pt x="17258" y="5530"/>
                  </a:lnTo>
                  <a:lnTo>
                    <a:pt x="17183" y="5451"/>
                  </a:lnTo>
                  <a:lnTo>
                    <a:pt x="17082" y="5351"/>
                  </a:lnTo>
                  <a:lnTo>
                    <a:pt x="17048" y="5222"/>
                  </a:lnTo>
                  <a:lnTo>
                    <a:pt x="17048" y="5089"/>
                  </a:lnTo>
                  <a:cubicBezTo>
                    <a:pt x="17065" y="5018"/>
                    <a:pt x="17060" y="4945"/>
                    <a:pt x="17034" y="4876"/>
                  </a:cubicBezTo>
                  <a:cubicBezTo>
                    <a:pt x="17013" y="4820"/>
                    <a:pt x="16978" y="4769"/>
                    <a:pt x="16933" y="4726"/>
                  </a:cubicBezTo>
                  <a:lnTo>
                    <a:pt x="16889" y="4630"/>
                  </a:lnTo>
                  <a:lnTo>
                    <a:pt x="16775" y="4458"/>
                  </a:lnTo>
                  <a:lnTo>
                    <a:pt x="16501" y="4341"/>
                  </a:lnTo>
                  <a:lnTo>
                    <a:pt x="16472" y="4199"/>
                  </a:lnTo>
                  <a:cubicBezTo>
                    <a:pt x="16470" y="4140"/>
                    <a:pt x="16461" y="4082"/>
                    <a:pt x="16443" y="4024"/>
                  </a:cubicBezTo>
                  <a:cubicBezTo>
                    <a:pt x="16425" y="3965"/>
                    <a:pt x="16398" y="3909"/>
                    <a:pt x="16363" y="3855"/>
                  </a:cubicBezTo>
                  <a:lnTo>
                    <a:pt x="16291" y="3674"/>
                  </a:lnTo>
                  <a:cubicBezTo>
                    <a:pt x="16289" y="3647"/>
                    <a:pt x="16285" y="3621"/>
                    <a:pt x="16277" y="3595"/>
                  </a:cubicBezTo>
                  <a:cubicBezTo>
                    <a:pt x="16256" y="3522"/>
                    <a:pt x="16213" y="3455"/>
                    <a:pt x="16154" y="3401"/>
                  </a:cubicBezTo>
                  <a:lnTo>
                    <a:pt x="16039" y="3250"/>
                  </a:lnTo>
                  <a:lnTo>
                    <a:pt x="15769" y="2894"/>
                  </a:lnTo>
                  <a:lnTo>
                    <a:pt x="15611" y="2670"/>
                  </a:lnTo>
                  <a:lnTo>
                    <a:pt x="15517" y="2564"/>
                  </a:lnTo>
                  <a:lnTo>
                    <a:pt x="15445" y="2442"/>
                  </a:lnTo>
                  <a:lnTo>
                    <a:pt x="15435" y="2351"/>
                  </a:lnTo>
                  <a:lnTo>
                    <a:pt x="15507" y="2268"/>
                  </a:lnTo>
                  <a:lnTo>
                    <a:pt x="15557" y="2174"/>
                  </a:lnTo>
                  <a:lnTo>
                    <a:pt x="15579" y="2095"/>
                  </a:lnTo>
                  <a:lnTo>
                    <a:pt x="15476" y="1983"/>
                  </a:lnTo>
                  <a:lnTo>
                    <a:pt x="15276" y="1854"/>
                  </a:lnTo>
                  <a:lnTo>
                    <a:pt x="15163" y="1798"/>
                  </a:lnTo>
                  <a:lnTo>
                    <a:pt x="15004" y="1798"/>
                  </a:lnTo>
                  <a:lnTo>
                    <a:pt x="14882" y="1810"/>
                  </a:lnTo>
                  <a:lnTo>
                    <a:pt x="14680" y="1867"/>
                  </a:lnTo>
                  <a:lnTo>
                    <a:pt x="14502" y="1898"/>
                  </a:lnTo>
                  <a:lnTo>
                    <a:pt x="14335" y="1902"/>
                  </a:lnTo>
                  <a:lnTo>
                    <a:pt x="14156" y="1858"/>
                  </a:lnTo>
                  <a:lnTo>
                    <a:pt x="13954" y="1827"/>
                  </a:lnTo>
                  <a:lnTo>
                    <a:pt x="13826" y="1795"/>
                  </a:lnTo>
                  <a:lnTo>
                    <a:pt x="13650" y="1741"/>
                  </a:lnTo>
                  <a:lnTo>
                    <a:pt x="13521" y="1716"/>
                  </a:lnTo>
                  <a:lnTo>
                    <a:pt x="13389" y="1716"/>
                  </a:lnTo>
                  <a:lnTo>
                    <a:pt x="13240" y="1681"/>
                  </a:lnTo>
                  <a:lnTo>
                    <a:pt x="13103" y="1668"/>
                  </a:lnTo>
                  <a:lnTo>
                    <a:pt x="12934" y="1606"/>
                  </a:lnTo>
                  <a:lnTo>
                    <a:pt x="12749" y="1481"/>
                  </a:lnTo>
                  <a:lnTo>
                    <a:pt x="12590" y="1418"/>
                  </a:lnTo>
                  <a:lnTo>
                    <a:pt x="12457" y="1374"/>
                  </a:lnTo>
                  <a:lnTo>
                    <a:pt x="12308" y="1331"/>
                  </a:lnTo>
                  <a:lnTo>
                    <a:pt x="12072" y="1318"/>
                  </a:lnTo>
                  <a:lnTo>
                    <a:pt x="11905" y="1298"/>
                  </a:lnTo>
                  <a:close/>
                </a:path>
              </a:pathLst>
            </a:custGeom>
            <a:grpFill/>
            <a:ln w="25400" cap="flat">
              <a:noFill/>
              <a:prstDash val="solid"/>
              <a:miter lim="400000"/>
            </a:ln>
            <a:effectLst/>
          </p:spPr>
          <p:txBody>
            <a:bodyPr anchor="ctr"/>
            <a:lstStyle/>
            <a:p>
              <a:pPr algn="ctr"/>
              <a:endParaRPr/>
            </a:p>
          </p:txBody>
        </p:sp>
        <p:sp>
          <p:nvSpPr>
            <p:cNvPr id="66" name="ïś1îḍê">
              <a:extLst>
                <a:ext uri="{FF2B5EF4-FFF2-40B4-BE49-F238E27FC236}">
                  <a16:creationId xmlns:a16="http://schemas.microsoft.com/office/drawing/2014/main" id="{09572E3C-9BDF-4868-87EB-48A0E0620BC3}"/>
                </a:ext>
              </a:extLst>
            </p:cNvPr>
            <p:cNvSpPr/>
            <p:nvPr/>
          </p:nvSpPr>
          <p:spPr>
            <a:xfrm>
              <a:off x="7392962" y="4263491"/>
              <a:ext cx="22472" cy="27321"/>
            </a:xfrm>
            <a:custGeom>
              <a:avLst/>
              <a:gdLst/>
              <a:ahLst/>
              <a:cxnLst>
                <a:cxn ang="0">
                  <a:pos x="wd2" y="hd2"/>
                </a:cxn>
                <a:cxn ang="5400000">
                  <a:pos x="wd2" y="hd2"/>
                </a:cxn>
                <a:cxn ang="10800000">
                  <a:pos x="wd2" y="hd2"/>
                </a:cxn>
                <a:cxn ang="16200000">
                  <a:pos x="wd2" y="hd2"/>
                </a:cxn>
              </a:cxnLst>
              <a:rect l="0" t="0" r="r" b="b"/>
              <a:pathLst>
                <a:path w="21600" h="21600" extrusionOk="0">
                  <a:moveTo>
                    <a:pt x="6326" y="0"/>
                  </a:moveTo>
                  <a:lnTo>
                    <a:pt x="0" y="9333"/>
                  </a:lnTo>
                  <a:lnTo>
                    <a:pt x="1832" y="16236"/>
                  </a:lnTo>
                  <a:lnTo>
                    <a:pt x="15030" y="21600"/>
                  </a:lnTo>
                  <a:lnTo>
                    <a:pt x="21600" y="15013"/>
                  </a:lnTo>
                  <a:lnTo>
                    <a:pt x="21600" y="3233"/>
                  </a:lnTo>
                  <a:lnTo>
                    <a:pt x="6326" y="0"/>
                  </a:lnTo>
                  <a:close/>
                </a:path>
              </a:pathLst>
            </a:custGeom>
            <a:grpFill/>
            <a:ln w="25400" cap="flat">
              <a:noFill/>
              <a:prstDash val="solid"/>
              <a:miter lim="400000"/>
            </a:ln>
            <a:effectLst/>
          </p:spPr>
          <p:txBody>
            <a:bodyPr anchor="ctr"/>
            <a:lstStyle/>
            <a:p>
              <a:pPr algn="ctr"/>
              <a:endParaRPr/>
            </a:p>
          </p:txBody>
        </p:sp>
        <p:sp>
          <p:nvSpPr>
            <p:cNvPr id="67" name="işlïḑe">
              <a:extLst>
                <a:ext uri="{FF2B5EF4-FFF2-40B4-BE49-F238E27FC236}">
                  <a16:creationId xmlns:a16="http://schemas.microsoft.com/office/drawing/2014/main" id="{FEA33E05-17F6-4BEA-9181-A0C3788CBFB6}"/>
                </a:ext>
              </a:extLst>
            </p:cNvPr>
            <p:cNvSpPr/>
            <p:nvPr/>
          </p:nvSpPr>
          <p:spPr>
            <a:xfrm>
              <a:off x="6950702" y="4538501"/>
              <a:ext cx="248466" cy="475742"/>
            </a:xfrm>
            <a:custGeom>
              <a:avLst/>
              <a:gdLst/>
              <a:ahLst/>
              <a:cxnLst>
                <a:cxn ang="0">
                  <a:pos x="wd2" y="hd2"/>
                </a:cxn>
                <a:cxn ang="5400000">
                  <a:pos x="wd2" y="hd2"/>
                </a:cxn>
                <a:cxn ang="10800000">
                  <a:pos x="wd2" y="hd2"/>
                </a:cxn>
                <a:cxn ang="16200000">
                  <a:pos x="wd2" y="hd2"/>
                </a:cxn>
              </a:cxnLst>
              <a:rect l="0" t="0" r="r" b="b"/>
              <a:pathLst>
                <a:path w="21600" h="21600" extrusionOk="0">
                  <a:moveTo>
                    <a:pt x="18696" y="0"/>
                  </a:moveTo>
                  <a:lnTo>
                    <a:pt x="19918" y="733"/>
                  </a:lnTo>
                  <a:lnTo>
                    <a:pt x="20738" y="1839"/>
                  </a:lnTo>
                  <a:lnTo>
                    <a:pt x="21268" y="2687"/>
                  </a:lnTo>
                  <a:lnTo>
                    <a:pt x="21600" y="3981"/>
                  </a:lnTo>
                  <a:lnTo>
                    <a:pt x="20826" y="5023"/>
                  </a:lnTo>
                  <a:cubicBezTo>
                    <a:pt x="20609" y="5376"/>
                    <a:pt x="20366" y="5724"/>
                    <a:pt x="20097" y="6066"/>
                  </a:cubicBezTo>
                  <a:cubicBezTo>
                    <a:pt x="19662" y="6621"/>
                    <a:pt x="19160" y="7160"/>
                    <a:pt x="18594" y="7681"/>
                  </a:cubicBezTo>
                  <a:lnTo>
                    <a:pt x="17802" y="9136"/>
                  </a:lnTo>
                  <a:lnTo>
                    <a:pt x="17031" y="10592"/>
                  </a:lnTo>
                  <a:cubicBezTo>
                    <a:pt x="16764" y="10920"/>
                    <a:pt x="16499" y="11249"/>
                    <a:pt x="16235" y="11578"/>
                  </a:cubicBezTo>
                  <a:cubicBezTo>
                    <a:pt x="15888" y="12012"/>
                    <a:pt x="15544" y="12446"/>
                    <a:pt x="15203" y="12881"/>
                  </a:cubicBezTo>
                  <a:lnTo>
                    <a:pt x="14606" y="13728"/>
                  </a:lnTo>
                  <a:lnTo>
                    <a:pt x="14010" y="14760"/>
                  </a:lnTo>
                  <a:lnTo>
                    <a:pt x="13215" y="16308"/>
                  </a:lnTo>
                  <a:lnTo>
                    <a:pt x="12950" y="17339"/>
                  </a:lnTo>
                  <a:lnTo>
                    <a:pt x="12553" y="18473"/>
                  </a:lnTo>
                  <a:lnTo>
                    <a:pt x="11359" y="19536"/>
                  </a:lnTo>
                  <a:lnTo>
                    <a:pt x="10161" y="20327"/>
                  </a:lnTo>
                  <a:lnTo>
                    <a:pt x="8567" y="20671"/>
                  </a:lnTo>
                  <a:lnTo>
                    <a:pt x="6435" y="21394"/>
                  </a:lnTo>
                  <a:lnTo>
                    <a:pt x="5446" y="21600"/>
                  </a:lnTo>
                  <a:cubicBezTo>
                    <a:pt x="4959" y="21573"/>
                    <a:pt x="4489" y="21491"/>
                    <a:pt x="4070" y="21359"/>
                  </a:cubicBezTo>
                  <a:cubicBezTo>
                    <a:pt x="3557" y="21198"/>
                    <a:pt x="3137" y="20969"/>
                    <a:pt x="2852" y="20696"/>
                  </a:cubicBezTo>
                  <a:cubicBezTo>
                    <a:pt x="2444" y="20653"/>
                    <a:pt x="2063" y="20558"/>
                    <a:pt x="1743" y="20420"/>
                  </a:cubicBezTo>
                  <a:cubicBezTo>
                    <a:pt x="1252" y="20209"/>
                    <a:pt x="932" y="19911"/>
                    <a:pt x="844" y="19584"/>
                  </a:cubicBezTo>
                  <a:cubicBezTo>
                    <a:pt x="905" y="19197"/>
                    <a:pt x="866" y="18807"/>
                    <a:pt x="730" y="18426"/>
                  </a:cubicBezTo>
                  <a:cubicBezTo>
                    <a:pt x="598" y="18058"/>
                    <a:pt x="376" y="17701"/>
                    <a:pt x="69" y="17362"/>
                  </a:cubicBezTo>
                  <a:lnTo>
                    <a:pt x="0" y="16892"/>
                  </a:lnTo>
                  <a:lnTo>
                    <a:pt x="534" y="16137"/>
                  </a:lnTo>
                  <a:lnTo>
                    <a:pt x="1656" y="15246"/>
                  </a:lnTo>
                  <a:lnTo>
                    <a:pt x="2695" y="14432"/>
                  </a:lnTo>
                  <a:lnTo>
                    <a:pt x="3422" y="13745"/>
                  </a:lnTo>
                  <a:lnTo>
                    <a:pt x="4350" y="12713"/>
                  </a:lnTo>
                  <a:cubicBezTo>
                    <a:pt x="4439" y="12532"/>
                    <a:pt x="4506" y="12348"/>
                    <a:pt x="4549" y="12163"/>
                  </a:cubicBezTo>
                  <a:cubicBezTo>
                    <a:pt x="4652" y="11728"/>
                    <a:pt x="4630" y="11288"/>
                    <a:pt x="4483" y="10857"/>
                  </a:cubicBezTo>
                  <a:lnTo>
                    <a:pt x="3687" y="9791"/>
                  </a:lnTo>
                  <a:cubicBezTo>
                    <a:pt x="3616" y="9483"/>
                    <a:pt x="3616" y="9171"/>
                    <a:pt x="3687" y="8862"/>
                  </a:cubicBezTo>
                  <a:cubicBezTo>
                    <a:pt x="3777" y="8475"/>
                    <a:pt x="3978" y="8097"/>
                    <a:pt x="4284" y="7740"/>
                  </a:cubicBezTo>
                  <a:lnTo>
                    <a:pt x="4594" y="6756"/>
                  </a:lnTo>
                  <a:lnTo>
                    <a:pt x="5588" y="5967"/>
                  </a:lnTo>
                  <a:cubicBezTo>
                    <a:pt x="5955" y="5974"/>
                    <a:pt x="6322" y="5974"/>
                    <a:pt x="6688" y="5967"/>
                  </a:cubicBezTo>
                  <a:cubicBezTo>
                    <a:pt x="7526" y="5953"/>
                    <a:pt x="8361" y="5907"/>
                    <a:pt x="9186" y="5830"/>
                  </a:cubicBezTo>
                  <a:lnTo>
                    <a:pt x="11131" y="5176"/>
                  </a:lnTo>
                  <a:lnTo>
                    <a:pt x="12454" y="4236"/>
                  </a:lnTo>
                  <a:cubicBezTo>
                    <a:pt x="12687" y="3853"/>
                    <a:pt x="13251" y="3548"/>
                    <a:pt x="13980" y="3411"/>
                  </a:cubicBezTo>
                  <a:cubicBezTo>
                    <a:pt x="14318" y="3347"/>
                    <a:pt x="14680" y="3324"/>
                    <a:pt x="15038" y="3342"/>
                  </a:cubicBezTo>
                  <a:cubicBezTo>
                    <a:pt x="15356" y="3221"/>
                    <a:pt x="15665" y="3095"/>
                    <a:pt x="15966" y="2964"/>
                  </a:cubicBezTo>
                  <a:cubicBezTo>
                    <a:pt x="16733" y="2629"/>
                    <a:pt x="17443" y="2261"/>
                    <a:pt x="18088" y="1863"/>
                  </a:cubicBezTo>
                  <a:lnTo>
                    <a:pt x="18685" y="866"/>
                  </a:lnTo>
                  <a:lnTo>
                    <a:pt x="18354" y="341"/>
                  </a:lnTo>
                  <a:lnTo>
                    <a:pt x="18696" y="0"/>
                  </a:lnTo>
                  <a:close/>
                </a:path>
              </a:pathLst>
            </a:custGeom>
            <a:grpFill/>
            <a:ln w="25400" cap="flat">
              <a:noFill/>
              <a:prstDash val="solid"/>
              <a:miter lim="400000"/>
            </a:ln>
            <a:effectLst/>
          </p:spPr>
          <p:txBody>
            <a:bodyPr anchor="ctr"/>
            <a:lstStyle/>
            <a:p>
              <a:pPr algn="ctr"/>
              <a:endParaRPr/>
            </a:p>
          </p:txBody>
        </p:sp>
        <p:sp>
          <p:nvSpPr>
            <p:cNvPr id="68" name="ísḷiḍè">
              <a:extLst>
                <a:ext uri="{FF2B5EF4-FFF2-40B4-BE49-F238E27FC236}">
                  <a16:creationId xmlns:a16="http://schemas.microsoft.com/office/drawing/2014/main" id="{CC360081-6648-4B77-A18E-4DDF72E46B00}"/>
                </a:ext>
              </a:extLst>
            </p:cNvPr>
            <p:cNvSpPr/>
            <p:nvPr/>
          </p:nvSpPr>
          <p:spPr>
            <a:xfrm>
              <a:off x="7015877" y="4582107"/>
              <a:ext cx="16360" cy="25666"/>
            </a:xfrm>
            <a:custGeom>
              <a:avLst/>
              <a:gdLst/>
              <a:ahLst/>
              <a:cxnLst>
                <a:cxn ang="0">
                  <a:pos x="wd2" y="hd2"/>
                </a:cxn>
                <a:cxn ang="5400000">
                  <a:pos x="wd2" y="hd2"/>
                </a:cxn>
                <a:cxn ang="10800000">
                  <a:pos x="wd2" y="hd2"/>
                </a:cxn>
                <a:cxn ang="16200000">
                  <a:pos x="wd2" y="hd2"/>
                </a:cxn>
              </a:cxnLst>
              <a:rect l="0" t="0" r="r" b="b"/>
              <a:pathLst>
                <a:path w="21600" h="21600" extrusionOk="0">
                  <a:moveTo>
                    <a:pt x="18802" y="0"/>
                  </a:moveTo>
                  <a:lnTo>
                    <a:pt x="4813" y="1913"/>
                  </a:lnTo>
                  <a:lnTo>
                    <a:pt x="0" y="12064"/>
                  </a:lnTo>
                  <a:lnTo>
                    <a:pt x="5083" y="21600"/>
                  </a:lnTo>
                  <a:lnTo>
                    <a:pt x="21600" y="9513"/>
                  </a:lnTo>
                  <a:lnTo>
                    <a:pt x="18802" y="0"/>
                  </a:lnTo>
                  <a:close/>
                </a:path>
              </a:pathLst>
            </a:custGeom>
            <a:grpFill/>
            <a:ln w="25400" cap="flat">
              <a:noFill/>
              <a:prstDash val="solid"/>
              <a:miter lim="400000"/>
            </a:ln>
            <a:effectLst/>
          </p:spPr>
          <p:txBody>
            <a:bodyPr anchor="ctr"/>
            <a:lstStyle/>
            <a:p>
              <a:pPr algn="ctr"/>
              <a:endParaRPr/>
            </a:p>
          </p:txBody>
        </p:sp>
        <p:sp>
          <p:nvSpPr>
            <p:cNvPr id="69" name="îŝlîḋê">
              <a:extLst>
                <a:ext uri="{FF2B5EF4-FFF2-40B4-BE49-F238E27FC236}">
                  <a16:creationId xmlns:a16="http://schemas.microsoft.com/office/drawing/2014/main" id="{95FEC11A-218E-4C2A-90F9-C8803C43E18A}"/>
                </a:ext>
              </a:extLst>
            </p:cNvPr>
            <p:cNvSpPr/>
            <p:nvPr/>
          </p:nvSpPr>
          <p:spPr>
            <a:xfrm>
              <a:off x="6990181" y="4542570"/>
              <a:ext cx="21071" cy="20646"/>
            </a:xfrm>
            <a:custGeom>
              <a:avLst/>
              <a:gdLst/>
              <a:ahLst/>
              <a:cxnLst>
                <a:cxn ang="0">
                  <a:pos x="wd2" y="hd2"/>
                </a:cxn>
                <a:cxn ang="5400000">
                  <a:pos x="wd2" y="hd2"/>
                </a:cxn>
                <a:cxn ang="10800000">
                  <a:pos x="wd2" y="hd2"/>
                </a:cxn>
                <a:cxn ang="16200000">
                  <a:pos x="wd2" y="hd2"/>
                </a:cxn>
              </a:cxnLst>
              <a:rect l="0" t="0" r="r" b="b"/>
              <a:pathLst>
                <a:path w="21600" h="21600" extrusionOk="0">
                  <a:moveTo>
                    <a:pt x="18128" y="8886"/>
                  </a:moveTo>
                  <a:lnTo>
                    <a:pt x="8318" y="0"/>
                  </a:lnTo>
                  <a:lnTo>
                    <a:pt x="0" y="6625"/>
                  </a:lnTo>
                  <a:lnTo>
                    <a:pt x="9071" y="16880"/>
                  </a:lnTo>
                  <a:lnTo>
                    <a:pt x="21600" y="21600"/>
                  </a:lnTo>
                  <a:lnTo>
                    <a:pt x="18128" y="8886"/>
                  </a:lnTo>
                  <a:close/>
                </a:path>
              </a:pathLst>
            </a:custGeom>
            <a:grpFill/>
            <a:ln w="25400" cap="flat">
              <a:noFill/>
              <a:prstDash val="solid"/>
              <a:miter lim="400000"/>
            </a:ln>
            <a:effectLst/>
          </p:spPr>
          <p:txBody>
            <a:bodyPr anchor="ctr"/>
            <a:lstStyle/>
            <a:p>
              <a:pPr algn="ctr"/>
              <a:endParaRPr/>
            </a:p>
          </p:txBody>
        </p:sp>
        <p:sp>
          <p:nvSpPr>
            <p:cNvPr id="70" name="iṡļiḍé">
              <a:extLst>
                <a:ext uri="{FF2B5EF4-FFF2-40B4-BE49-F238E27FC236}">
                  <a16:creationId xmlns:a16="http://schemas.microsoft.com/office/drawing/2014/main" id="{26FA9890-11A2-4F95-A711-F43FC5389616}"/>
                </a:ext>
              </a:extLst>
            </p:cNvPr>
            <p:cNvSpPr/>
            <p:nvPr/>
          </p:nvSpPr>
          <p:spPr>
            <a:xfrm>
              <a:off x="6964606" y="4555580"/>
              <a:ext cx="20339" cy="16639"/>
            </a:xfrm>
            <a:custGeom>
              <a:avLst/>
              <a:gdLst/>
              <a:ahLst/>
              <a:cxnLst>
                <a:cxn ang="0">
                  <a:pos x="wd2" y="hd2"/>
                </a:cxn>
                <a:cxn ang="5400000">
                  <a:pos x="wd2" y="hd2"/>
                </a:cxn>
                <a:cxn ang="10800000">
                  <a:pos x="wd2" y="hd2"/>
                </a:cxn>
                <a:cxn ang="16200000">
                  <a:pos x="wd2" y="hd2"/>
                </a:cxn>
              </a:cxnLst>
              <a:rect l="0" t="0" r="r" b="b"/>
              <a:pathLst>
                <a:path w="21600" h="21600" extrusionOk="0">
                  <a:moveTo>
                    <a:pt x="7800" y="0"/>
                  </a:moveTo>
                  <a:lnTo>
                    <a:pt x="0" y="2623"/>
                  </a:lnTo>
                  <a:lnTo>
                    <a:pt x="9524" y="21600"/>
                  </a:lnTo>
                  <a:lnTo>
                    <a:pt x="21600" y="20616"/>
                  </a:lnTo>
                  <a:lnTo>
                    <a:pt x="19979" y="3243"/>
                  </a:lnTo>
                  <a:lnTo>
                    <a:pt x="7800" y="0"/>
                  </a:lnTo>
                  <a:close/>
                </a:path>
              </a:pathLst>
            </a:custGeom>
            <a:grpFill/>
            <a:ln w="25400" cap="flat">
              <a:noFill/>
              <a:prstDash val="solid"/>
              <a:miter lim="400000"/>
            </a:ln>
            <a:effectLst/>
          </p:spPr>
          <p:txBody>
            <a:bodyPr anchor="ctr"/>
            <a:lstStyle/>
            <a:p>
              <a:pPr algn="ctr"/>
              <a:endParaRPr/>
            </a:p>
          </p:txBody>
        </p:sp>
        <p:sp>
          <p:nvSpPr>
            <p:cNvPr id="71" name="íś1iḍé">
              <a:extLst>
                <a:ext uri="{FF2B5EF4-FFF2-40B4-BE49-F238E27FC236}">
                  <a16:creationId xmlns:a16="http://schemas.microsoft.com/office/drawing/2014/main" id="{09C28A2E-2F3D-49D8-AEE9-012B2A0C1AE9}"/>
                </a:ext>
              </a:extLst>
            </p:cNvPr>
            <p:cNvSpPr/>
            <p:nvPr/>
          </p:nvSpPr>
          <p:spPr>
            <a:xfrm>
              <a:off x="6946134" y="4515244"/>
              <a:ext cx="16360" cy="24039"/>
            </a:xfrm>
            <a:custGeom>
              <a:avLst/>
              <a:gdLst/>
              <a:ahLst/>
              <a:cxnLst>
                <a:cxn ang="0">
                  <a:pos x="wd2" y="hd2"/>
                </a:cxn>
                <a:cxn ang="5400000">
                  <a:pos x="wd2" y="hd2"/>
                </a:cxn>
                <a:cxn ang="10800000">
                  <a:pos x="wd2" y="hd2"/>
                </a:cxn>
                <a:cxn ang="16200000">
                  <a:pos x="wd2" y="hd2"/>
                </a:cxn>
              </a:cxnLst>
              <a:rect l="0" t="0" r="r" b="b"/>
              <a:pathLst>
                <a:path w="21600" h="21600" extrusionOk="0">
                  <a:moveTo>
                    <a:pt x="13062" y="0"/>
                  </a:moveTo>
                  <a:lnTo>
                    <a:pt x="3048" y="6808"/>
                  </a:lnTo>
                  <a:lnTo>
                    <a:pt x="0" y="16890"/>
                  </a:lnTo>
                  <a:lnTo>
                    <a:pt x="17411" y="21600"/>
                  </a:lnTo>
                  <a:lnTo>
                    <a:pt x="21600" y="12326"/>
                  </a:lnTo>
                  <a:lnTo>
                    <a:pt x="13062" y="0"/>
                  </a:lnTo>
                  <a:close/>
                </a:path>
              </a:pathLst>
            </a:custGeom>
            <a:grpFill/>
            <a:ln w="25400" cap="flat">
              <a:noFill/>
              <a:prstDash val="solid"/>
              <a:miter lim="400000"/>
            </a:ln>
            <a:effectLst/>
          </p:spPr>
          <p:txBody>
            <a:bodyPr anchor="ctr"/>
            <a:lstStyle/>
            <a:p>
              <a:pPr algn="ctr"/>
              <a:endParaRPr/>
            </a:p>
          </p:txBody>
        </p:sp>
        <p:sp>
          <p:nvSpPr>
            <p:cNvPr id="72" name="íšľíḑe">
              <a:extLst>
                <a:ext uri="{FF2B5EF4-FFF2-40B4-BE49-F238E27FC236}">
                  <a16:creationId xmlns:a16="http://schemas.microsoft.com/office/drawing/2014/main" id="{D555090D-8483-4166-8A7F-EF392C5F23FA}"/>
                </a:ext>
              </a:extLst>
            </p:cNvPr>
            <p:cNvSpPr/>
            <p:nvPr/>
          </p:nvSpPr>
          <p:spPr>
            <a:xfrm>
              <a:off x="7355849" y="4831107"/>
              <a:ext cx="26760" cy="35791"/>
            </a:xfrm>
            <a:custGeom>
              <a:avLst/>
              <a:gdLst/>
              <a:ahLst/>
              <a:cxnLst>
                <a:cxn ang="0">
                  <a:pos x="wd2" y="hd2"/>
                </a:cxn>
                <a:cxn ang="5400000">
                  <a:pos x="wd2" y="hd2"/>
                </a:cxn>
                <a:cxn ang="10800000">
                  <a:pos x="wd2" y="hd2"/>
                </a:cxn>
                <a:cxn ang="16200000">
                  <a:pos x="wd2" y="hd2"/>
                </a:cxn>
              </a:cxnLst>
              <a:rect l="0" t="0" r="r" b="b"/>
              <a:pathLst>
                <a:path w="21600" h="21600" extrusionOk="0">
                  <a:moveTo>
                    <a:pt x="9532" y="0"/>
                  </a:moveTo>
                  <a:lnTo>
                    <a:pt x="1397" y="5278"/>
                  </a:lnTo>
                  <a:lnTo>
                    <a:pt x="0" y="13559"/>
                  </a:lnTo>
                  <a:lnTo>
                    <a:pt x="6822" y="21600"/>
                  </a:lnTo>
                  <a:lnTo>
                    <a:pt x="21600" y="17485"/>
                  </a:lnTo>
                  <a:lnTo>
                    <a:pt x="21600" y="7445"/>
                  </a:lnTo>
                  <a:lnTo>
                    <a:pt x="9532" y="0"/>
                  </a:lnTo>
                  <a:close/>
                </a:path>
              </a:pathLst>
            </a:custGeom>
            <a:grpFill/>
            <a:ln w="25400" cap="flat">
              <a:noFill/>
              <a:prstDash val="solid"/>
              <a:miter lim="400000"/>
            </a:ln>
            <a:effectLst/>
          </p:spPr>
          <p:txBody>
            <a:bodyPr anchor="ctr"/>
            <a:lstStyle/>
            <a:p>
              <a:pPr algn="ctr"/>
              <a:endParaRPr/>
            </a:p>
          </p:txBody>
        </p:sp>
        <p:sp>
          <p:nvSpPr>
            <p:cNvPr id="73" name="îşľíḍe">
              <a:extLst>
                <a:ext uri="{FF2B5EF4-FFF2-40B4-BE49-F238E27FC236}">
                  <a16:creationId xmlns:a16="http://schemas.microsoft.com/office/drawing/2014/main" id="{51FF9CC3-B1D1-4023-8D77-5B0521C6472D}"/>
                </a:ext>
              </a:extLst>
            </p:cNvPr>
            <p:cNvSpPr/>
            <p:nvPr/>
          </p:nvSpPr>
          <p:spPr>
            <a:xfrm>
              <a:off x="7418815" y="4803555"/>
              <a:ext cx="16360" cy="23507"/>
            </a:xfrm>
            <a:custGeom>
              <a:avLst/>
              <a:gdLst/>
              <a:ahLst/>
              <a:cxnLst>
                <a:cxn ang="0">
                  <a:pos x="wd2" y="hd2"/>
                </a:cxn>
                <a:cxn ang="5400000">
                  <a:pos x="wd2" y="hd2"/>
                </a:cxn>
                <a:cxn ang="10800000">
                  <a:pos x="wd2" y="hd2"/>
                </a:cxn>
                <a:cxn ang="16200000">
                  <a:pos x="wd2" y="hd2"/>
                </a:cxn>
              </a:cxnLst>
              <a:rect l="0" t="0" r="r" b="b"/>
              <a:pathLst>
                <a:path w="21600" h="21600" extrusionOk="0">
                  <a:moveTo>
                    <a:pt x="17956" y="0"/>
                  </a:moveTo>
                  <a:lnTo>
                    <a:pt x="1750" y="4177"/>
                  </a:lnTo>
                  <a:lnTo>
                    <a:pt x="0" y="18148"/>
                  </a:lnTo>
                  <a:lnTo>
                    <a:pt x="21600" y="21600"/>
                  </a:lnTo>
                  <a:lnTo>
                    <a:pt x="21555" y="10257"/>
                  </a:lnTo>
                  <a:lnTo>
                    <a:pt x="17956" y="0"/>
                  </a:lnTo>
                  <a:close/>
                </a:path>
              </a:pathLst>
            </a:custGeom>
            <a:grpFill/>
            <a:ln w="25400" cap="flat">
              <a:noFill/>
              <a:prstDash val="solid"/>
              <a:miter lim="400000"/>
            </a:ln>
            <a:effectLst/>
          </p:spPr>
          <p:txBody>
            <a:bodyPr anchor="ctr"/>
            <a:lstStyle/>
            <a:p>
              <a:pPr algn="ctr"/>
              <a:endParaRPr/>
            </a:p>
          </p:txBody>
        </p:sp>
        <p:sp>
          <p:nvSpPr>
            <p:cNvPr id="74" name="ïşḻîḑe">
              <a:extLst>
                <a:ext uri="{FF2B5EF4-FFF2-40B4-BE49-F238E27FC236}">
                  <a16:creationId xmlns:a16="http://schemas.microsoft.com/office/drawing/2014/main" id="{774ADA82-E7CA-4CB4-9DC7-165D99591ACC}"/>
                </a:ext>
              </a:extLst>
            </p:cNvPr>
            <p:cNvSpPr/>
            <p:nvPr/>
          </p:nvSpPr>
          <p:spPr>
            <a:xfrm>
              <a:off x="5322768" y="4656828"/>
              <a:ext cx="31865" cy="30264"/>
            </a:xfrm>
            <a:custGeom>
              <a:avLst/>
              <a:gdLst/>
              <a:ahLst/>
              <a:cxnLst>
                <a:cxn ang="0">
                  <a:pos x="wd2" y="hd2"/>
                </a:cxn>
                <a:cxn ang="5400000">
                  <a:pos x="wd2" y="hd2"/>
                </a:cxn>
                <a:cxn ang="10800000">
                  <a:pos x="wd2" y="hd2"/>
                </a:cxn>
                <a:cxn ang="16200000">
                  <a:pos x="wd2" y="hd2"/>
                </a:cxn>
              </a:cxnLst>
              <a:rect l="0" t="0" r="r" b="b"/>
              <a:pathLst>
                <a:path w="21600" h="21600" extrusionOk="0">
                  <a:moveTo>
                    <a:pt x="9397" y="0"/>
                  </a:moveTo>
                  <a:lnTo>
                    <a:pt x="0" y="19826"/>
                  </a:lnTo>
                  <a:lnTo>
                    <a:pt x="21600" y="21600"/>
                  </a:lnTo>
                  <a:lnTo>
                    <a:pt x="9397" y="0"/>
                  </a:lnTo>
                  <a:close/>
                </a:path>
              </a:pathLst>
            </a:custGeom>
            <a:grpFill/>
            <a:ln w="25400" cap="flat">
              <a:noFill/>
              <a:prstDash val="solid"/>
              <a:miter lim="400000"/>
            </a:ln>
            <a:effectLst/>
          </p:spPr>
          <p:txBody>
            <a:bodyPr anchor="ctr"/>
            <a:lstStyle/>
            <a:p>
              <a:pPr algn="ctr"/>
              <a:endParaRPr/>
            </a:p>
          </p:txBody>
        </p:sp>
        <p:sp>
          <p:nvSpPr>
            <p:cNvPr id="75" name="ïsḻiḑe">
              <a:extLst>
                <a:ext uri="{FF2B5EF4-FFF2-40B4-BE49-F238E27FC236}">
                  <a16:creationId xmlns:a16="http://schemas.microsoft.com/office/drawing/2014/main" id="{E0EE81C5-A223-45AF-9DDE-BFB9E557B615}"/>
                </a:ext>
              </a:extLst>
            </p:cNvPr>
            <p:cNvSpPr/>
            <p:nvPr/>
          </p:nvSpPr>
          <p:spPr>
            <a:xfrm>
              <a:off x="5724659" y="4042992"/>
              <a:ext cx="23245" cy="2134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4824" y="4121"/>
                  </a:lnTo>
                  <a:lnTo>
                    <a:pt x="0" y="11667"/>
                  </a:lnTo>
                  <a:lnTo>
                    <a:pt x="9389" y="21600"/>
                  </a:lnTo>
                  <a:lnTo>
                    <a:pt x="20674" y="10869"/>
                  </a:lnTo>
                  <a:lnTo>
                    <a:pt x="21600" y="0"/>
                  </a:lnTo>
                  <a:close/>
                </a:path>
              </a:pathLst>
            </a:custGeom>
            <a:grpFill/>
            <a:ln w="25400" cap="flat">
              <a:noFill/>
              <a:prstDash val="solid"/>
              <a:miter lim="400000"/>
            </a:ln>
            <a:effectLst/>
          </p:spPr>
          <p:txBody>
            <a:bodyPr anchor="ctr"/>
            <a:lstStyle/>
            <a:p>
              <a:pPr algn="ctr"/>
              <a:endParaRPr/>
            </a:p>
          </p:txBody>
        </p:sp>
        <p:sp>
          <p:nvSpPr>
            <p:cNvPr id="76" name="iSľîḍe">
              <a:extLst>
                <a:ext uri="{FF2B5EF4-FFF2-40B4-BE49-F238E27FC236}">
                  <a16:creationId xmlns:a16="http://schemas.microsoft.com/office/drawing/2014/main" id="{9F0F42ED-3F48-4ECA-BB6E-1153E157B0F5}"/>
                </a:ext>
              </a:extLst>
            </p:cNvPr>
            <p:cNvSpPr/>
            <p:nvPr/>
          </p:nvSpPr>
          <p:spPr>
            <a:xfrm>
              <a:off x="5797850" y="3949493"/>
              <a:ext cx="20701" cy="16360"/>
            </a:xfrm>
            <a:custGeom>
              <a:avLst/>
              <a:gdLst/>
              <a:ahLst/>
              <a:cxnLst>
                <a:cxn ang="0">
                  <a:pos x="wd2" y="hd2"/>
                </a:cxn>
                <a:cxn ang="5400000">
                  <a:pos x="wd2" y="hd2"/>
                </a:cxn>
                <a:cxn ang="10800000">
                  <a:pos x="wd2" y="hd2"/>
                </a:cxn>
                <a:cxn ang="16200000">
                  <a:pos x="wd2" y="hd2"/>
                </a:cxn>
              </a:cxnLst>
              <a:rect l="0" t="0" r="r" b="b"/>
              <a:pathLst>
                <a:path w="21600" h="21600" extrusionOk="0">
                  <a:moveTo>
                    <a:pt x="11047" y="0"/>
                  </a:moveTo>
                  <a:lnTo>
                    <a:pt x="0" y="5982"/>
                  </a:lnTo>
                  <a:lnTo>
                    <a:pt x="2019" y="20443"/>
                  </a:lnTo>
                  <a:lnTo>
                    <a:pt x="15499" y="21600"/>
                  </a:lnTo>
                  <a:lnTo>
                    <a:pt x="21600" y="4412"/>
                  </a:lnTo>
                  <a:lnTo>
                    <a:pt x="11047" y="0"/>
                  </a:lnTo>
                  <a:close/>
                </a:path>
              </a:pathLst>
            </a:custGeom>
            <a:grpFill/>
            <a:ln w="25400" cap="flat">
              <a:noFill/>
              <a:prstDash val="solid"/>
              <a:miter lim="400000"/>
            </a:ln>
            <a:effectLst/>
          </p:spPr>
          <p:txBody>
            <a:bodyPr anchor="ctr"/>
            <a:lstStyle/>
            <a:p>
              <a:pPr algn="ctr"/>
              <a:endParaRPr/>
            </a:p>
          </p:txBody>
        </p:sp>
        <p:sp>
          <p:nvSpPr>
            <p:cNvPr id="77" name="isḷiďé">
              <a:extLst>
                <a:ext uri="{FF2B5EF4-FFF2-40B4-BE49-F238E27FC236}">
                  <a16:creationId xmlns:a16="http://schemas.microsoft.com/office/drawing/2014/main" id="{3359BDA6-8C8F-4517-948B-8A13D6F52B9D}"/>
                </a:ext>
              </a:extLst>
            </p:cNvPr>
            <p:cNvSpPr/>
            <p:nvPr/>
          </p:nvSpPr>
          <p:spPr>
            <a:xfrm>
              <a:off x="5771093" y="4007307"/>
              <a:ext cx="16360" cy="16360"/>
            </a:xfrm>
            <a:custGeom>
              <a:avLst/>
              <a:gdLst/>
              <a:ahLst/>
              <a:cxnLst>
                <a:cxn ang="0">
                  <a:pos x="wd2" y="hd2"/>
                </a:cxn>
                <a:cxn ang="5400000">
                  <a:pos x="wd2" y="hd2"/>
                </a:cxn>
                <a:cxn ang="10800000">
                  <a:pos x="wd2" y="hd2"/>
                </a:cxn>
                <a:cxn ang="16200000">
                  <a:pos x="wd2" y="hd2"/>
                </a:cxn>
              </a:cxnLst>
              <a:rect l="0" t="0" r="r" b="b"/>
              <a:pathLst>
                <a:path w="21600" h="21600" extrusionOk="0">
                  <a:moveTo>
                    <a:pt x="7211" y="0"/>
                  </a:moveTo>
                  <a:lnTo>
                    <a:pt x="0" y="9014"/>
                  </a:lnTo>
                  <a:lnTo>
                    <a:pt x="7385" y="21600"/>
                  </a:lnTo>
                  <a:lnTo>
                    <a:pt x="21600" y="12069"/>
                  </a:lnTo>
                  <a:lnTo>
                    <a:pt x="17567" y="1769"/>
                  </a:lnTo>
                  <a:lnTo>
                    <a:pt x="7211" y="0"/>
                  </a:lnTo>
                  <a:close/>
                </a:path>
              </a:pathLst>
            </a:custGeom>
            <a:grpFill/>
            <a:ln w="25400" cap="flat">
              <a:noFill/>
              <a:prstDash val="solid"/>
              <a:miter lim="400000"/>
            </a:ln>
            <a:effectLst/>
          </p:spPr>
          <p:txBody>
            <a:bodyPr anchor="ctr"/>
            <a:lstStyle/>
            <a:p>
              <a:pPr algn="ctr"/>
              <a:endParaRPr/>
            </a:p>
          </p:txBody>
        </p:sp>
        <p:sp>
          <p:nvSpPr>
            <p:cNvPr id="78" name="ïṡ1idè">
              <a:extLst>
                <a:ext uri="{FF2B5EF4-FFF2-40B4-BE49-F238E27FC236}">
                  <a16:creationId xmlns:a16="http://schemas.microsoft.com/office/drawing/2014/main" id="{860FB713-F1A8-4858-BF64-7D3114261159}"/>
                </a:ext>
              </a:extLst>
            </p:cNvPr>
            <p:cNvSpPr/>
            <p:nvPr/>
          </p:nvSpPr>
          <p:spPr>
            <a:xfrm>
              <a:off x="4744799" y="3515700"/>
              <a:ext cx="23569" cy="20839"/>
            </a:xfrm>
            <a:custGeom>
              <a:avLst/>
              <a:gdLst/>
              <a:ahLst/>
              <a:cxnLst>
                <a:cxn ang="0">
                  <a:pos x="wd2" y="hd2"/>
                </a:cxn>
                <a:cxn ang="5400000">
                  <a:pos x="wd2" y="hd2"/>
                </a:cxn>
                <a:cxn ang="10800000">
                  <a:pos x="wd2" y="hd2"/>
                </a:cxn>
                <a:cxn ang="16200000">
                  <a:pos x="wd2" y="hd2"/>
                </a:cxn>
              </a:cxnLst>
              <a:rect l="0" t="0" r="r" b="b"/>
              <a:pathLst>
                <a:path w="21600" h="21600" extrusionOk="0">
                  <a:moveTo>
                    <a:pt x="18240" y="3109"/>
                  </a:moveTo>
                  <a:lnTo>
                    <a:pt x="7082" y="0"/>
                  </a:lnTo>
                  <a:lnTo>
                    <a:pt x="0" y="4651"/>
                  </a:lnTo>
                  <a:lnTo>
                    <a:pt x="2157" y="15611"/>
                  </a:lnTo>
                  <a:lnTo>
                    <a:pt x="14637" y="21600"/>
                  </a:lnTo>
                  <a:lnTo>
                    <a:pt x="21600" y="17214"/>
                  </a:lnTo>
                  <a:lnTo>
                    <a:pt x="18240" y="3109"/>
                  </a:lnTo>
                  <a:close/>
                </a:path>
              </a:pathLst>
            </a:custGeom>
            <a:grpFill/>
            <a:ln w="25400" cap="flat">
              <a:noFill/>
              <a:prstDash val="solid"/>
              <a:miter lim="400000"/>
            </a:ln>
            <a:effectLst/>
          </p:spPr>
          <p:txBody>
            <a:bodyPr anchor="ctr"/>
            <a:lstStyle/>
            <a:p>
              <a:pPr algn="ctr"/>
              <a:endParaRPr/>
            </a:p>
          </p:txBody>
        </p:sp>
        <p:sp>
          <p:nvSpPr>
            <p:cNvPr id="79" name="íṧ1îḍè">
              <a:extLst>
                <a:ext uri="{FF2B5EF4-FFF2-40B4-BE49-F238E27FC236}">
                  <a16:creationId xmlns:a16="http://schemas.microsoft.com/office/drawing/2014/main" id="{5D329FF6-8679-44A3-8636-FF8B3625E482}"/>
                </a:ext>
              </a:extLst>
            </p:cNvPr>
            <p:cNvSpPr/>
            <p:nvPr/>
          </p:nvSpPr>
          <p:spPr>
            <a:xfrm>
              <a:off x="4718288" y="3519867"/>
              <a:ext cx="18421" cy="17929"/>
            </a:xfrm>
            <a:custGeom>
              <a:avLst/>
              <a:gdLst/>
              <a:ahLst/>
              <a:cxnLst>
                <a:cxn ang="0">
                  <a:pos x="wd2" y="hd2"/>
                </a:cxn>
                <a:cxn ang="5400000">
                  <a:pos x="wd2" y="hd2"/>
                </a:cxn>
                <a:cxn ang="10800000">
                  <a:pos x="wd2" y="hd2"/>
                </a:cxn>
                <a:cxn ang="16200000">
                  <a:pos x="wd2" y="hd2"/>
                </a:cxn>
              </a:cxnLst>
              <a:rect l="0" t="0" r="r" b="b"/>
              <a:pathLst>
                <a:path w="21600" h="21600" extrusionOk="0">
                  <a:moveTo>
                    <a:pt x="10002" y="0"/>
                  </a:moveTo>
                  <a:lnTo>
                    <a:pt x="2249" y="4561"/>
                  </a:lnTo>
                  <a:lnTo>
                    <a:pt x="0" y="15210"/>
                  </a:lnTo>
                  <a:lnTo>
                    <a:pt x="16269" y="21600"/>
                  </a:lnTo>
                  <a:lnTo>
                    <a:pt x="21600" y="9771"/>
                  </a:lnTo>
                  <a:lnTo>
                    <a:pt x="10002" y="0"/>
                  </a:lnTo>
                  <a:close/>
                </a:path>
              </a:pathLst>
            </a:custGeom>
            <a:grpFill/>
            <a:ln w="25400" cap="flat">
              <a:noFill/>
              <a:prstDash val="solid"/>
              <a:miter lim="400000"/>
            </a:ln>
            <a:effectLst/>
          </p:spPr>
          <p:txBody>
            <a:bodyPr anchor="ctr"/>
            <a:lstStyle/>
            <a:p>
              <a:pPr algn="ctr"/>
              <a:endParaRPr/>
            </a:p>
          </p:txBody>
        </p:sp>
        <p:sp>
          <p:nvSpPr>
            <p:cNvPr id="80" name="îšḷiḋè">
              <a:extLst>
                <a:ext uri="{FF2B5EF4-FFF2-40B4-BE49-F238E27FC236}">
                  <a16:creationId xmlns:a16="http://schemas.microsoft.com/office/drawing/2014/main" id="{BE5382E5-0F88-4E80-BCBD-5FA251E05BBC}"/>
                </a:ext>
              </a:extLst>
            </p:cNvPr>
            <p:cNvSpPr/>
            <p:nvPr/>
          </p:nvSpPr>
          <p:spPr>
            <a:xfrm>
              <a:off x="4711539" y="3478504"/>
              <a:ext cx="16360" cy="16360"/>
            </a:xfrm>
            <a:custGeom>
              <a:avLst/>
              <a:gdLst/>
              <a:ahLst/>
              <a:cxnLst>
                <a:cxn ang="0">
                  <a:pos x="wd2" y="hd2"/>
                </a:cxn>
                <a:cxn ang="5400000">
                  <a:pos x="wd2" y="hd2"/>
                </a:cxn>
                <a:cxn ang="10800000">
                  <a:pos x="wd2" y="hd2"/>
                </a:cxn>
                <a:cxn ang="16200000">
                  <a:pos x="wd2" y="hd2"/>
                </a:cxn>
              </a:cxnLst>
              <a:rect l="0" t="0" r="r" b="b"/>
              <a:pathLst>
                <a:path w="21600" h="21600" extrusionOk="0">
                  <a:moveTo>
                    <a:pt x="15567" y="0"/>
                  </a:moveTo>
                  <a:lnTo>
                    <a:pt x="0" y="5790"/>
                  </a:lnTo>
                  <a:lnTo>
                    <a:pt x="269" y="21257"/>
                  </a:lnTo>
                  <a:lnTo>
                    <a:pt x="21600" y="21600"/>
                  </a:lnTo>
                  <a:lnTo>
                    <a:pt x="15567" y="0"/>
                  </a:lnTo>
                  <a:close/>
                </a:path>
              </a:pathLst>
            </a:custGeom>
            <a:grpFill/>
            <a:ln w="25400" cap="flat">
              <a:noFill/>
              <a:prstDash val="solid"/>
              <a:miter lim="400000"/>
            </a:ln>
            <a:effectLst/>
          </p:spPr>
          <p:txBody>
            <a:bodyPr anchor="ctr"/>
            <a:lstStyle/>
            <a:p>
              <a:pPr algn="ctr"/>
              <a:endParaRPr/>
            </a:p>
          </p:txBody>
        </p:sp>
        <p:sp>
          <p:nvSpPr>
            <p:cNvPr id="81" name="îslídé">
              <a:extLst>
                <a:ext uri="{FF2B5EF4-FFF2-40B4-BE49-F238E27FC236}">
                  <a16:creationId xmlns:a16="http://schemas.microsoft.com/office/drawing/2014/main" id="{095FF3B2-3D26-4220-A4B6-B1B8D6A0B25C}"/>
                </a:ext>
              </a:extLst>
            </p:cNvPr>
            <p:cNvSpPr/>
            <p:nvPr/>
          </p:nvSpPr>
          <p:spPr>
            <a:xfrm>
              <a:off x="4753604" y="3480420"/>
              <a:ext cx="16360" cy="1636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788" y="13213"/>
                  </a:lnTo>
                  <a:lnTo>
                    <a:pt x="15312" y="21600"/>
                  </a:lnTo>
                  <a:lnTo>
                    <a:pt x="21600" y="1906"/>
                  </a:lnTo>
                  <a:lnTo>
                    <a:pt x="0" y="0"/>
                  </a:lnTo>
                  <a:close/>
                </a:path>
              </a:pathLst>
            </a:custGeom>
            <a:grpFill/>
            <a:ln w="25400" cap="flat">
              <a:noFill/>
              <a:prstDash val="solid"/>
              <a:miter lim="400000"/>
            </a:ln>
            <a:effectLst/>
          </p:spPr>
          <p:txBody>
            <a:bodyPr anchor="ctr"/>
            <a:lstStyle/>
            <a:p>
              <a:pPr algn="ctr"/>
              <a:endParaRPr/>
            </a:p>
          </p:txBody>
        </p:sp>
        <p:sp>
          <p:nvSpPr>
            <p:cNvPr id="82" name="îşļiḋe">
              <a:extLst>
                <a:ext uri="{FF2B5EF4-FFF2-40B4-BE49-F238E27FC236}">
                  <a16:creationId xmlns:a16="http://schemas.microsoft.com/office/drawing/2014/main" id="{3F263E55-A643-4934-B6F1-8809CBCD73D2}"/>
                </a:ext>
              </a:extLst>
            </p:cNvPr>
            <p:cNvSpPr/>
            <p:nvPr/>
          </p:nvSpPr>
          <p:spPr>
            <a:xfrm>
              <a:off x="4664619" y="3447009"/>
              <a:ext cx="16360" cy="22098"/>
            </a:xfrm>
            <a:custGeom>
              <a:avLst/>
              <a:gdLst/>
              <a:ahLst/>
              <a:cxnLst>
                <a:cxn ang="0">
                  <a:pos x="wd2" y="hd2"/>
                </a:cxn>
                <a:cxn ang="5400000">
                  <a:pos x="wd2" y="hd2"/>
                </a:cxn>
                <a:cxn ang="10800000">
                  <a:pos x="wd2" y="hd2"/>
                </a:cxn>
                <a:cxn ang="16200000">
                  <a:pos x="wd2" y="hd2"/>
                </a:cxn>
              </a:cxnLst>
              <a:rect l="0" t="0" r="r" b="b"/>
              <a:pathLst>
                <a:path w="21600" h="21600" extrusionOk="0">
                  <a:moveTo>
                    <a:pt x="0" y="3742"/>
                  </a:moveTo>
                  <a:lnTo>
                    <a:pt x="4329" y="14327"/>
                  </a:lnTo>
                  <a:lnTo>
                    <a:pt x="16819" y="21600"/>
                  </a:lnTo>
                  <a:lnTo>
                    <a:pt x="21600" y="10493"/>
                  </a:lnTo>
                  <a:lnTo>
                    <a:pt x="13195" y="0"/>
                  </a:lnTo>
                  <a:lnTo>
                    <a:pt x="0" y="3742"/>
                  </a:lnTo>
                  <a:close/>
                </a:path>
              </a:pathLst>
            </a:custGeom>
            <a:grpFill/>
            <a:ln w="25400" cap="flat">
              <a:noFill/>
              <a:prstDash val="solid"/>
              <a:miter lim="400000"/>
            </a:ln>
            <a:effectLst/>
          </p:spPr>
          <p:txBody>
            <a:bodyPr anchor="ctr"/>
            <a:lstStyle/>
            <a:p>
              <a:pPr algn="ctr"/>
              <a:endParaRPr/>
            </a:p>
          </p:txBody>
        </p:sp>
        <p:sp>
          <p:nvSpPr>
            <p:cNvPr id="83" name="íṣ1íḓe">
              <a:extLst>
                <a:ext uri="{FF2B5EF4-FFF2-40B4-BE49-F238E27FC236}">
                  <a16:creationId xmlns:a16="http://schemas.microsoft.com/office/drawing/2014/main" id="{74457F3C-0191-4467-9DEF-C33DA91672AF}"/>
                </a:ext>
              </a:extLst>
            </p:cNvPr>
            <p:cNvSpPr/>
            <p:nvPr/>
          </p:nvSpPr>
          <p:spPr>
            <a:xfrm>
              <a:off x="6355015" y="1385657"/>
              <a:ext cx="4055030" cy="2652259"/>
            </a:xfrm>
            <a:custGeom>
              <a:avLst/>
              <a:gdLst/>
              <a:ahLst/>
              <a:cxnLst>
                <a:cxn ang="0">
                  <a:pos x="wd2" y="hd2"/>
                </a:cxn>
                <a:cxn ang="5400000">
                  <a:pos x="wd2" y="hd2"/>
                </a:cxn>
                <a:cxn ang="10800000">
                  <a:pos x="wd2" y="hd2"/>
                </a:cxn>
                <a:cxn ang="16200000">
                  <a:pos x="wd2" y="hd2"/>
                </a:cxn>
              </a:cxnLst>
              <a:rect l="0" t="0" r="r" b="b"/>
              <a:pathLst>
                <a:path w="21600" h="21600" extrusionOk="0">
                  <a:moveTo>
                    <a:pt x="3888" y="10223"/>
                  </a:moveTo>
                  <a:lnTo>
                    <a:pt x="3759" y="10132"/>
                  </a:lnTo>
                  <a:lnTo>
                    <a:pt x="3569" y="10003"/>
                  </a:lnTo>
                  <a:lnTo>
                    <a:pt x="3374" y="9884"/>
                  </a:lnTo>
                  <a:lnTo>
                    <a:pt x="3246" y="9786"/>
                  </a:lnTo>
                  <a:lnTo>
                    <a:pt x="3076" y="9629"/>
                  </a:lnTo>
                  <a:lnTo>
                    <a:pt x="2911" y="9493"/>
                  </a:lnTo>
                  <a:lnTo>
                    <a:pt x="2761" y="9429"/>
                  </a:lnTo>
                  <a:lnTo>
                    <a:pt x="2496" y="9413"/>
                  </a:lnTo>
                  <a:lnTo>
                    <a:pt x="2488" y="9536"/>
                  </a:lnTo>
                  <a:lnTo>
                    <a:pt x="2488" y="9685"/>
                  </a:lnTo>
                  <a:lnTo>
                    <a:pt x="2440" y="9710"/>
                  </a:lnTo>
                  <a:lnTo>
                    <a:pt x="2438" y="9806"/>
                  </a:lnTo>
                  <a:lnTo>
                    <a:pt x="2404" y="9868"/>
                  </a:lnTo>
                  <a:lnTo>
                    <a:pt x="2281" y="9898"/>
                  </a:lnTo>
                  <a:lnTo>
                    <a:pt x="2204" y="9935"/>
                  </a:lnTo>
                  <a:lnTo>
                    <a:pt x="2136" y="9972"/>
                  </a:lnTo>
                  <a:lnTo>
                    <a:pt x="2027" y="9972"/>
                  </a:lnTo>
                  <a:lnTo>
                    <a:pt x="2002" y="9923"/>
                  </a:lnTo>
                  <a:lnTo>
                    <a:pt x="1910" y="9911"/>
                  </a:lnTo>
                  <a:lnTo>
                    <a:pt x="1838" y="9882"/>
                  </a:lnTo>
                  <a:lnTo>
                    <a:pt x="1737" y="9753"/>
                  </a:lnTo>
                  <a:lnTo>
                    <a:pt x="1662" y="9674"/>
                  </a:lnTo>
                  <a:lnTo>
                    <a:pt x="1566" y="9632"/>
                  </a:lnTo>
                  <a:lnTo>
                    <a:pt x="1456" y="9632"/>
                  </a:lnTo>
                  <a:lnTo>
                    <a:pt x="1311" y="9556"/>
                  </a:lnTo>
                  <a:lnTo>
                    <a:pt x="1142" y="9550"/>
                  </a:lnTo>
                  <a:lnTo>
                    <a:pt x="1029" y="9601"/>
                  </a:lnTo>
                  <a:lnTo>
                    <a:pt x="892" y="9755"/>
                  </a:lnTo>
                  <a:lnTo>
                    <a:pt x="746" y="9853"/>
                  </a:lnTo>
                  <a:lnTo>
                    <a:pt x="686" y="9775"/>
                  </a:lnTo>
                  <a:lnTo>
                    <a:pt x="637" y="9781"/>
                  </a:lnTo>
                  <a:lnTo>
                    <a:pt x="517" y="9840"/>
                  </a:lnTo>
                  <a:lnTo>
                    <a:pt x="497" y="9942"/>
                  </a:lnTo>
                  <a:lnTo>
                    <a:pt x="434" y="10016"/>
                  </a:lnTo>
                  <a:lnTo>
                    <a:pt x="372" y="10094"/>
                  </a:lnTo>
                  <a:lnTo>
                    <a:pt x="333" y="10172"/>
                  </a:lnTo>
                  <a:lnTo>
                    <a:pt x="266" y="10168"/>
                  </a:lnTo>
                  <a:lnTo>
                    <a:pt x="217" y="10086"/>
                  </a:lnTo>
                  <a:lnTo>
                    <a:pt x="134" y="10086"/>
                  </a:lnTo>
                  <a:lnTo>
                    <a:pt x="77" y="10159"/>
                  </a:lnTo>
                  <a:lnTo>
                    <a:pt x="17" y="10178"/>
                  </a:lnTo>
                  <a:lnTo>
                    <a:pt x="0" y="10303"/>
                  </a:lnTo>
                  <a:lnTo>
                    <a:pt x="78" y="10326"/>
                  </a:lnTo>
                  <a:lnTo>
                    <a:pt x="133" y="10326"/>
                  </a:lnTo>
                  <a:lnTo>
                    <a:pt x="213" y="10443"/>
                  </a:lnTo>
                  <a:lnTo>
                    <a:pt x="190" y="10662"/>
                  </a:lnTo>
                  <a:lnTo>
                    <a:pt x="231" y="10788"/>
                  </a:lnTo>
                  <a:lnTo>
                    <a:pt x="262" y="10847"/>
                  </a:lnTo>
                  <a:lnTo>
                    <a:pt x="282" y="10968"/>
                  </a:lnTo>
                  <a:lnTo>
                    <a:pt x="337" y="11040"/>
                  </a:lnTo>
                  <a:lnTo>
                    <a:pt x="424" y="11071"/>
                  </a:lnTo>
                  <a:lnTo>
                    <a:pt x="465" y="11186"/>
                  </a:lnTo>
                  <a:lnTo>
                    <a:pt x="540" y="11180"/>
                  </a:lnTo>
                  <a:lnTo>
                    <a:pt x="596" y="11201"/>
                  </a:lnTo>
                  <a:lnTo>
                    <a:pt x="645" y="11223"/>
                  </a:lnTo>
                  <a:lnTo>
                    <a:pt x="735" y="11198"/>
                  </a:lnTo>
                  <a:lnTo>
                    <a:pt x="776" y="11089"/>
                  </a:lnTo>
                  <a:lnTo>
                    <a:pt x="857" y="11047"/>
                  </a:lnTo>
                  <a:lnTo>
                    <a:pt x="954" y="11071"/>
                  </a:lnTo>
                  <a:lnTo>
                    <a:pt x="993" y="11139"/>
                  </a:lnTo>
                  <a:lnTo>
                    <a:pt x="1119" y="11238"/>
                  </a:lnTo>
                  <a:lnTo>
                    <a:pt x="1269" y="11219"/>
                  </a:lnTo>
                  <a:lnTo>
                    <a:pt x="1313" y="11207"/>
                  </a:lnTo>
                  <a:lnTo>
                    <a:pt x="1390" y="11119"/>
                  </a:lnTo>
                  <a:lnTo>
                    <a:pt x="1486" y="11040"/>
                  </a:lnTo>
                  <a:lnTo>
                    <a:pt x="1581" y="11016"/>
                  </a:lnTo>
                  <a:lnTo>
                    <a:pt x="1654" y="11065"/>
                  </a:lnTo>
                  <a:lnTo>
                    <a:pt x="1739" y="11096"/>
                  </a:lnTo>
                  <a:lnTo>
                    <a:pt x="1739" y="11260"/>
                  </a:lnTo>
                  <a:lnTo>
                    <a:pt x="1702" y="11340"/>
                  </a:lnTo>
                  <a:lnTo>
                    <a:pt x="1719" y="11558"/>
                  </a:lnTo>
                  <a:lnTo>
                    <a:pt x="1711" y="11714"/>
                  </a:lnTo>
                  <a:lnTo>
                    <a:pt x="1701" y="11890"/>
                  </a:lnTo>
                  <a:lnTo>
                    <a:pt x="1645" y="12051"/>
                  </a:lnTo>
                  <a:lnTo>
                    <a:pt x="1657" y="12205"/>
                  </a:lnTo>
                  <a:cubicBezTo>
                    <a:pt x="1663" y="12254"/>
                    <a:pt x="1664" y="12305"/>
                    <a:pt x="1661" y="12355"/>
                  </a:cubicBezTo>
                  <a:cubicBezTo>
                    <a:pt x="1657" y="12420"/>
                    <a:pt x="1645" y="12483"/>
                    <a:pt x="1626" y="12542"/>
                  </a:cubicBezTo>
                  <a:lnTo>
                    <a:pt x="1585" y="12622"/>
                  </a:lnTo>
                  <a:lnTo>
                    <a:pt x="1546" y="12708"/>
                  </a:lnTo>
                  <a:lnTo>
                    <a:pt x="1479" y="12732"/>
                  </a:lnTo>
                  <a:lnTo>
                    <a:pt x="1386" y="12744"/>
                  </a:lnTo>
                  <a:lnTo>
                    <a:pt x="1285" y="12855"/>
                  </a:lnTo>
                  <a:lnTo>
                    <a:pt x="1201" y="12825"/>
                  </a:lnTo>
                  <a:lnTo>
                    <a:pt x="1164" y="12855"/>
                  </a:lnTo>
                  <a:lnTo>
                    <a:pt x="1228" y="12954"/>
                  </a:lnTo>
                  <a:lnTo>
                    <a:pt x="1263" y="13016"/>
                  </a:lnTo>
                  <a:lnTo>
                    <a:pt x="1239" y="13122"/>
                  </a:lnTo>
                  <a:lnTo>
                    <a:pt x="1307" y="13243"/>
                  </a:lnTo>
                  <a:lnTo>
                    <a:pt x="1359" y="13286"/>
                  </a:lnTo>
                  <a:lnTo>
                    <a:pt x="1408" y="13345"/>
                  </a:lnTo>
                  <a:lnTo>
                    <a:pt x="1404" y="13429"/>
                  </a:lnTo>
                  <a:lnTo>
                    <a:pt x="1404" y="13509"/>
                  </a:lnTo>
                  <a:lnTo>
                    <a:pt x="1481" y="13572"/>
                  </a:lnTo>
                  <a:lnTo>
                    <a:pt x="1558" y="13731"/>
                  </a:lnTo>
                  <a:lnTo>
                    <a:pt x="1602" y="13657"/>
                  </a:lnTo>
                  <a:lnTo>
                    <a:pt x="1602" y="13398"/>
                  </a:lnTo>
                  <a:lnTo>
                    <a:pt x="1659" y="13331"/>
                  </a:lnTo>
                  <a:lnTo>
                    <a:pt x="1705" y="13420"/>
                  </a:lnTo>
                  <a:lnTo>
                    <a:pt x="1741" y="13555"/>
                  </a:lnTo>
                  <a:lnTo>
                    <a:pt x="1778" y="13837"/>
                  </a:lnTo>
                  <a:lnTo>
                    <a:pt x="1857" y="13946"/>
                  </a:lnTo>
                  <a:lnTo>
                    <a:pt x="1897" y="14113"/>
                  </a:lnTo>
                  <a:lnTo>
                    <a:pt x="1945" y="14215"/>
                  </a:lnTo>
                  <a:lnTo>
                    <a:pt x="1995" y="14373"/>
                  </a:lnTo>
                  <a:lnTo>
                    <a:pt x="2107" y="14477"/>
                  </a:lnTo>
                  <a:lnTo>
                    <a:pt x="2161" y="14557"/>
                  </a:lnTo>
                  <a:lnTo>
                    <a:pt x="2205" y="14753"/>
                  </a:lnTo>
                  <a:lnTo>
                    <a:pt x="2226" y="14836"/>
                  </a:lnTo>
                  <a:lnTo>
                    <a:pt x="2263" y="14879"/>
                  </a:lnTo>
                  <a:lnTo>
                    <a:pt x="2376" y="14996"/>
                  </a:lnTo>
                  <a:cubicBezTo>
                    <a:pt x="2426" y="15014"/>
                    <a:pt x="2466" y="15070"/>
                    <a:pt x="2482" y="15144"/>
                  </a:cubicBezTo>
                  <a:cubicBezTo>
                    <a:pt x="2497" y="15214"/>
                    <a:pt x="2488" y="15290"/>
                    <a:pt x="2459" y="15348"/>
                  </a:cubicBezTo>
                  <a:lnTo>
                    <a:pt x="2471" y="15538"/>
                  </a:lnTo>
                  <a:lnTo>
                    <a:pt x="2507" y="15643"/>
                  </a:lnTo>
                  <a:lnTo>
                    <a:pt x="2572" y="15815"/>
                  </a:lnTo>
                  <a:lnTo>
                    <a:pt x="2569" y="15885"/>
                  </a:lnTo>
                  <a:lnTo>
                    <a:pt x="2642" y="16007"/>
                  </a:lnTo>
                  <a:lnTo>
                    <a:pt x="2642" y="16132"/>
                  </a:lnTo>
                  <a:lnTo>
                    <a:pt x="2752" y="16182"/>
                  </a:lnTo>
                  <a:lnTo>
                    <a:pt x="2832" y="16227"/>
                  </a:lnTo>
                  <a:lnTo>
                    <a:pt x="2913" y="16387"/>
                  </a:lnTo>
                  <a:lnTo>
                    <a:pt x="2927" y="16529"/>
                  </a:lnTo>
                  <a:lnTo>
                    <a:pt x="2966" y="16723"/>
                  </a:lnTo>
                  <a:lnTo>
                    <a:pt x="3043" y="16785"/>
                  </a:lnTo>
                  <a:lnTo>
                    <a:pt x="3087" y="16846"/>
                  </a:lnTo>
                  <a:lnTo>
                    <a:pt x="3139" y="16957"/>
                  </a:lnTo>
                  <a:lnTo>
                    <a:pt x="3191" y="17089"/>
                  </a:lnTo>
                  <a:lnTo>
                    <a:pt x="3118" y="17304"/>
                  </a:lnTo>
                  <a:lnTo>
                    <a:pt x="3139" y="17419"/>
                  </a:lnTo>
                  <a:lnTo>
                    <a:pt x="3194" y="17508"/>
                  </a:lnTo>
                  <a:lnTo>
                    <a:pt x="3227" y="17680"/>
                  </a:lnTo>
                  <a:lnTo>
                    <a:pt x="3227" y="17814"/>
                  </a:lnTo>
                  <a:lnTo>
                    <a:pt x="3293" y="17911"/>
                  </a:lnTo>
                  <a:lnTo>
                    <a:pt x="3336" y="18030"/>
                  </a:lnTo>
                  <a:lnTo>
                    <a:pt x="3409" y="18178"/>
                  </a:lnTo>
                  <a:lnTo>
                    <a:pt x="3565" y="18190"/>
                  </a:lnTo>
                  <a:lnTo>
                    <a:pt x="3748" y="18135"/>
                  </a:lnTo>
                  <a:lnTo>
                    <a:pt x="3935" y="18014"/>
                  </a:lnTo>
                  <a:lnTo>
                    <a:pt x="4073" y="17896"/>
                  </a:lnTo>
                  <a:lnTo>
                    <a:pt x="4184" y="17812"/>
                  </a:lnTo>
                  <a:cubicBezTo>
                    <a:pt x="4199" y="17796"/>
                    <a:pt x="4214" y="17780"/>
                    <a:pt x="4230" y="17765"/>
                  </a:cubicBezTo>
                  <a:cubicBezTo>
                    <a:pt x="4287" y="17711"/>
                    <a:pt x="4350" y="17669"/>
                    <a:pt x="4415" y="17640"/>
                  </a:cubicBezTo>
                  <a:lnTo>
                    <a:pt x="4544" y="17598"/>
                  </a:lnTo>
                  <a:lnTo>
                    <a:pt x="4658" y="17456"/>
                  </a:lnTo>
                  <a:lnTo>
                    <a:pt x="4758" y="17382"/>
                  </a:lnTo>
                  <a:lnTo>
                    <a:pt x="4839" y="17253"/>
                  </a:lnTo>
                  <a:lnTo>
                    <a:pt x="4875" y="17128"/>
                  </a:lnTo>
                  <a:lnTo>
                    <a:pt x="4961" y="17019"/>
                  </a:lnTo>
                  <a:cubicBezTo>
                    <a:pt x="4995" y="16986"/>
                    <a:pt x="5032" y="16960"/>
                    <a:pt x="5070" y="16941"/>
                  </a:cubicBezTo>
                  <a:cubicBezTo>
                    <a:pt x="5110" y="16921"/>
                    <a:pt x="5151" y="16908"/>
                    <a:pt x="5192" y="16903"/>
                  </a:cubicBezTo>
                  <a:cubicBezTo>
                    <a:pt x="5225" y="16899"/>
                    <a:pt x="5257" y="16887"/>
                    <a:pt x="5288" y="16869"/>
                  </a:cubicBezTo>
                  <a:cubicBezTo>
                    <a:pt x="5328" y="16844"/>
                    <a:pt x="5365" y="16809"/>
                    <a:pt x="5396" y="16764"/>
                  </a:cubicBezTo>
                  <a:lnTo>
                    <a:pt x="5451" y="16651"/>
                  </a:lnTo>
                  <a:lnTo>
                    <a:pt x="5538" y="16468"/>
                  </a:lnTo>
                  <a:lnTo>
                    <a:pt x="5657" y="16322"/>
                  </a:lnTo>
                  <a:cubicBezTo>
                    <a:pt x="5670" y="16286"/>
                    <a:pt x="5682" y="16249"/>
                    <a:pt x="5694" y="16212"/>
                  </a:cubicBezTo>
                  <a:cubicBezTo>
                    <a:pt x="5710" y="16157"/>
                    <a:pt x="5726" y="16102"/>
                    <a:pt x="5740" y="16045"/>
                  </a:cubicBezTo>
                  <a:lnTo>
                    <a:pt x="5776" y="15879"/>
                  </a:lnTo>
                  <a:cubicBezTo>
                    <a:pt x="5808" y="15838"/>
                    <a:pt x="5839" y="15797"/>
                    <a:pt x="5869" y="15756"/>
                  </a:cubicBezTo>
                  <a:cubicBezTo>
                    <a:pt x="5901" y="15713"/>
                    <a:pt x="5933" y="15670"/>
                    <a:pt x="5964" y="15626"/>
                  </a:cubicBezTo>
                  <a:lnTo>
                    <a:pt x="6029" y="15553"/>
                  </a:lnTo>
                  <a:lnTo>
                    <a:pt x="6063" y="15485"/>
                  </a:lnTo>
                  <a:lnTo>
                    <a:pt x="6063" y="15401"/>
                  </a:lnTo>
                  <a:lnTo>
                    <a:pt x="5965" y="15268"/>
                  </a:lnTo>
                  <a:lnTo>
                    <a:pt x="5871" y="15159"/>
                  </a:lnTo>
                  <a:lnTo>
                    <a:pt x="5830" y="15003"/>
                  </a:lnTo>
                  <a:lnTo>
                    <a:pt x="5748" y="14940"/>
                  </a:lnTo>
                  <a:lnTo>
                    <a:pt x="5631" y="14861"/>
                  </a:lnTo>
                  <a:lnTo>
                    <a:pt x="5505" y="14786"/>
                  </a:lnTo>
                  <a:lnTo>
                    <a:pt x="5437" y="14638"/>
                  </a:lnTo>
                  <a:lnTo>
                    <a:pt x="5414" y="14547"/>
                  </a:lnTo>
                  <a:lnTo>
                    <a:pt x="5434" y="14455"/>
                  </a:lnTo>
                  <a:lnTo>
                    <a:pt x="5487" y="14377"/>
                  </a:lnTo>
                  <a:lnTo>
                    <a:pt x="5436" y="14294"/>
                  </a:lnTo>
                  <a:lnTo>
                    <a:pt x="5436" y="14214"/>
                  </a:lnTo>
                  <a:lnTo>
                    <a:pt x="5394" y="14183"/>
                  </a:lnTo>
                  <a:lnTo>
                    <a:pt x="5375" y="14243"/>
                  </a:lnTo>
                  <a:lnTo>
                    <a:pt x="5340" y="14329"/>
                  </a:lnTo>
                  <a:lnTo>
                    <a:pt x="5256" y="14499"/>
                  </a:lnTo>
                  <a:lnTo>
                    <a:pt x="5091" y="14727"/>
                  </a:lnTo>
                  <a:lnTo>
                    <a:pt x="5056" y="14801"/>
                  </a:lnTo>
                  <a:lnTo>
                    <a:pt x="4994" y="14801"/>
                  </a:lnTo>
                  <a:lnTo>
                    <a:pt x="4947" y="14807"/>
                  </a:lnTo>
                  <a:lnTo>
                    <a:pt x="4906" y="14856"/>
                  </a:lnTo>
                  <a:lnTo>
                    <a:pt x="4740" y="14875"/>
                  </a:lnTo>
                  <a:lnTo>
                    <a:pt x="4692" y="14807"/>
                  </a:lnTo>
                  <a:lnTo>
                    <a:pt x="4634" y="14766"/>
                  </a:lnTo>
                  <a:lnTo>
                    <a:pt x="4581" y="14679"/>
                  </a:lnTo>
                  <a:lnTo>
                    <a:pt x="4674" y="14568"/>
                  </a:lnTo>
                  <a:lnTo>
                    <a:pt x="4648" y="14475"/>
                  </a:lnTo>
                  <a:lnTo>
                    <a:pt x="4550" y="14438"/>
                  </a:lnTo>
                  <a:lnTo>
                    <a:pt x="4562" y="14367"/>
                  </a:lnTo>
                  <a:lnTo>
                    <a:pt x="4522" y="14348"/>
                  </a:lnTo>
                  <a:lnTo>
                    <a:pt x="4490" y="14410"/>
                  </a:lnTo>
                  <a:lnTo>
                    <a:pt x="4462" y="14502"/>
                  </a:lnTo>
                  <a:lnTo>
                    <a:pt x="4337" y="14533"/>
                  </a:lnTo>
                  <a:cubicBezTo>
                    <a:pt x="4331" y="14498"/>
                    <a:pt x="4323" y="14463"/>
                    <a:pt x="4314" y="14428"/>
                  </a:cubicBezTo>
                  <a:cubicBezTo>
                    <a:pt x="4298" y="14362"/>
                    <a:pt x="4278" y="14299"/>
                    <a:pt x="4255" y="14237"/>
                  </a:cubicBezTo>
                  <a:lnTo>
                    <a:pt x="4234" y="14018"/>
                  </a:lnTo>
                  <a:lnTo>
                    <a:pt x="4191" y="13904"/>
                  </a:lnTo>
                  <a:lnTo>
                    <a:pt x="4136" y="13783"/>
                  </a:lnTo>
                  <a:lnTo>
                    <a:pt x="4036" y="13581"/>
                  </a:lnTo>
                  <a:lnTo>
                    <a:pt x="3967" y="13457"/>
                  </a:lnTo>
                  <a:lnTo>
                    <a:pt x="3917" y="13357"/>
                  </a:lnTo>
                  <a:lnTo>
                    <a:pt x="3910" y="13265"/>
                  </a:lnTo>
                  <a:lnTo>
                    <a:pt x="3970" y="13125"/>
                  </a:lnTo>
                  <a:lnTo>
                    <a:pt x="3985" y="13013"/>
                  </a:lnTo>
                  <a:lnTo>
                    <a:pt x="4029" y="12939"/>
                  </a:lnTo>
                  <a:lnTo>
                    <a:pt x="4100" y="12939"/>
                  </a:lnTo>
                  <a:lnTo>
                    <a:pt x="4187" y="12956"/>
                  </a:lnTo>
                  <a:lnTo>
                    <a:pt x="4248" y="13017"/>
                  </a:lnTo>
                  <a:lnTo>
                    <a:pt x="4344" y="13091"/>
                  </a:lnTo>
                  <a:lnTo>
                    <a:pt x="4365" y="13162"/>
                  </a:lnTo>
                  <a:lnTo>
                    <a:pt x="4421" y="13266"/>
                  </a:lnTo>
                  <a:cubicBezTo>
                    <a:pt x="4450" y="13317"/>
                    <a:pt x="4470" y="13379"/>
                    <a:pt x="4479" y="13445"/>
                  </a:cubicBezTo>
                  <a:cubicBezTo>
                    <a:pt x="4485" y="13493"/>
                    <a:pt x="4485" y="13543"/>
                    <a:pt x="4479" y="13591"/>
                  </a:cubicBezTo>
                  <a:lnTo>
                    <a:pt x="4511" y="13696"/>
                  </a:lnTo>
                  <a:lnTo>
                    <a:pt x="4660" y="13788"/>
                  </a:lnTo>
                  <a:lnTo>
                    <a:pt x="4794" y="13899"/>
                  </a:lnTo>
                  <a:lnTo>
                    <a:pt x="4994" y="14024"/>
                  </a:lnTo>
                  <a:lnTo>
                    <a:pt x="5100" y="14092"/>
                  </a:lnTo>
                  <a:lnTo>
                    <a:pt x="5224" y="14082"/>
                  </a:lnTo>
                  <a:lnTo>
                    <a:pt x="5261" y="14033"/>
                  </a:lnTo>
                  <a:lnTo>
                    <a:pt x="5374" y="13959"/>
                  </a:lnTo>
                  <a:lnTo>
                    <a:pt x="5431" y="13947"/>
                  </a:lnTo>
                  <a:lnTo>
                    <a:pt x="5522" y="14062"/>
                  </a:lnTo>
                  <a:cubicBezTo>
                    <a:pt x="5537" y="14073"/>
                    <a:pt x="5550" y="14086"/>
                    <a:pt x="5562" y="14103"/>
                  </a:cubicBezTo>
                  <a:cubicBezTo>
                    <a:pt x="5586" y="14136"/>
                    <a:pt x="5605" y="14180"/>
                    <a:pt x="5614" y="14228"/>
                  </a:cubicBezTo>
                  <a:lnTo>
                    <a:pt x="5643" y="14331"/>
                  </a:lnTo>
                  <a:lnTo>
                    <a:pt x="5698" y="14433"/>
                  </a:lnTo>
                  <a:lnTo>
                    <a:pt x="5848" y="14477"/>
                  </a:lnTo>
                  <a:lnTo>
                    <a:pt x="6003" y="14470"/>
                  </a:lnTo>
                  <a:cubicBezTo>
                    <a:pt x="6040" y="14472"/>
                    <a:pt x="6077" y="14481"/>
                    <a:pt x="6112" y="14497"/>
                  </a:cubicBezTo>
                  <a:cubicBezTo>
                    <a:pt x="6145" y="14512"/>
                    <a:pt x="6176" y="14533"/>
                    <a:pt x="6206" y="14559"/>
                  </a:cubicBezTo>
                  <a:lnTo>
                    <a:pt x="6303" y="14547"/>
                  </a:lnTo>
                  <a:lnTo>
                    <a:pt x="6419" y="14487"/>
                  </a:lnTo>
                  <a:lnTo>
                    <a:pt x="6603" y="14487"/>
                  </a:lnTo>
                  <a:lnTo>
                    <a:pt x="6724" y="14567"/>
                  </a:lnTo>
                  <a:lnTo>
                    <a:pt x="6879" y="14555"/>
                  </a:lnTo>
                  <a:lnTo>
                    <a:pt x="6977" y="14489"/>
                  </a:lnTo>
                  <a:lnTo>
                    <a:pt x="7070" y="14403"/>
                  </a:lnTo>
                  <a:lnTo>
                    <a:pt x="7147" y="14409"/>
                  </a:lnTo>
                  <a:lnTo>
                    <a:pt x="7209" y="14502"/>
                  </a:lnTo>
                  <a:lnTo>
                    <a:pt x="7315" y="14543"/>
                  </a:lnTo>
                  <a:lnTo>
                    <a:pt x="7340" y="14604"/>
                  </a:lnTo>
                  <a:lnTo>
                    <a:pt x="7368" y="14721"/>
                  </a:lnTo>
                  <a:lnTo>
                    <a:pt x="7407" y="14857"/>
                  </a:lnTo>
                  <a:lnTo>
                    <a:pt x="7550" y="14913"/>
                  </a:lnTo>
                  <a:lnTo>
                    <a:pt x="7601" y="14995"/>
                  </a:lnTo>
                  <a:lnTo>
                    <a:pt x="7666" y="15131"/>
                  </a:lnTo>
                  <a:lnTo>
                    <a:pt x="7730" y="15227"/>
                  </a:lnTo>
                  <a:lnTo>
                    <a:pt x="7824" y="15221"/>
                  </a:lnTo>
                  <a:lnTo>
                    <a:pt x="7928" y="15166"/>
                  </a:lnTo>
                  <a:lnTo>
                    <a:pt x="7948" y="15245"/>
                  </a:lnTo>
                  <a:lnTo>
                    <a:pt x="7920" y="15356"/>
                  </a:lnTo>
                  <a:lnTo>
                    <a:pt x="7861" y="15391"/>
                  </a:lnTo>
                  <a:lnTo>
                    <a:pt x="7781" y="15366"/>
                  </a:lnTo>
                  <a:lnTo>
                    <a:pt x="7730" y="15391"/>
                  </a:lnTo>
                  <a:lnTo>
                    <a:pt x="7758" y="15489"/>
                  </a:lnTo>
                  <a:lnTo>
                    <a:pt x="7847" y="15538"/>
                  </a:lnTo>
                  <a:lnTo>
                    <a:pt x="7873" y="15682"/>
                  </a:lnTo>
                  <a:lnTo>
                    <a:pt x="7941" y="15770"/>
                  </a:lnTo>
                  <a:lnTo>
                    <a:pt x="8042" y="15801"/>
                  </a:lnTo>
                  <a:lnTo>
                    <a:pt x="8140" y="15801"/>
                  </a:lnTo>
                  <a:lnTo>
                    <a:pt x="8215" y="15735"/>
                  </a:lnTo>
                  <a:lnTo>
                    <a:pt x="8215" y="15647"/>
                  </a:lnTo>
                  <a:lnTo>
                    <a:pt x="8207" y="15558"/>
                  </a:lnTo>
                  <a:lnTo>
                    <a:pt x="8244" y="15441"/>
                  </a:lnTo>
                  <a:cubicBezTo>
                    <a:pt x="8257" y="15421"/>
                    <a:pt x="8274" y="15406"/>
                    <a:pt x="8293" y="15398"/>
                  </a:cubicBezTo>
                  <a:cubicBezTo>
                    <a:pt x="8324" y="15385"/>
                    <a:pt x="8357" y="15392"/>
                    <a:pt x="8385" y="15417"/>
                  </a:cubicBezTo>
                  <a:lnTo>
                    <a:pt x="8429" y="15521"/>
                  </a:lnTo>
                  <a:lnTo>
                    <a:pt x="8417" y="15693"/>
                  </a:lnTo>
                  <a:lnTo>
                    <a:pt x="8397" y="15792"/>
                  </a:lnTo>
                  <a:lnTo>
                    <a:pt x="8386" y="15933"/>
                  </a:lnTo>
                  <a:lnTo>
                    <a:pt x="8386" y="16079"/>
                  </a:lnTo>
                  <a:lnTo>
                    <a:pt x="8398" y="16182"/>
                  </a:lnTo>
                  <a:lnTo>
                    <a:pt x="8473" y="16441"/>
                  </a:lnTo>
                  <a:lnTo>
                    <a:pt x="8502" y="16728"/>
                  </a:lnTo>
                  <a:lnTo>
                    <a:pt x="8510" y="16868"/>
                  </a:lnTo>
                  <a:lnTo>
                    <a:pt x="8607" y="17022"/>
                  </a:lnTo>
                  <a:lnTo>
                    <a:pt x="8663" y="17133"/>
                  </a:lnTo>
                  <a:lnTo>
                    <a:pt x="8679" y="17303"/>
                  </a:lnTo>
                  <a:lnTo>
                    <a:pt x="8703" y="17418"/>
                  </a:lnTo>
                  <a:lnTo>
                    <a:pt x="8759" y="17603"/>
                  </a:lnTo>
                  <a:lnTo>
                    <a:pt x="8799" y="17688"/>
                  </a:lnTo>
                  <a:lnTo>
                    <a:pt x="8858" y="17815"/>
                  </a:lnTo>
                  <a:lnTo>
                    <a:pt x="8894" y="17957"/>
                  </a:lnTo>
                  <a:lnTo>
                    <a:pt x="8919" y="18076"/>
                  </a:lnTo>
                  <a:lnTo>
                    <a:pt x="8963" y="18226"/>
                  </a:lnTo>
                  <a:lnTo>
                    <a:pt x="9034" y="18456"/>
                  </a:lnTo>
                  <a:lnTo>
                    <a:pt x="9088" y="18673"/>
                  </a:lnTo>
                  <a:lnTo>
                    <a:pt x="9120" y="18766"/>
                  </a:lnTo>
                  <a:lnTo>
                    <a:pt x="9157" y="18876"/>
                  </a:lnTo>
                  <a:lnTo>
                    <a:pt x="9165" y="18992"/>
                  </a:lnTo>
                  <a:lnTo>
                    <a:pt x="9224" y="19229"/>
                  </a:lnTo>
                  <a:lnTo>
                    <a:pt x="9265" y="19340"/>
                  </a:lnTo>
                  <a:lnTo>
                    <a:pt x="9335" y="19401"/>
                  </a:lnTo>
                  <a:lnTo>
                    <a:pt x="9398" y="19455"/>
                  </a:lnTo>
                  <a:lnTo>
                    <a:pt x="9435" y="19534"/>
                  </a:lnTo>
                  <a:lnTo>
                    <a:pt x="9499" y="19529"/>
                  </a:lnTo>
                  <a:cubicBezTo>
                    <a:pt x="9505" y="19494"/>
                    <a:pt x="9512" y="19459"/>
                    <a:pt x="9519" y="19424"/>
                  </a:cubicBezTo>
                  <a:cubicBezTo>
                    <a:pt x="9525" y="19391"/>
                    <a:pt x="9532" y="19357"/>
                    <a:pt x="9539" y="19324"/>
                  </a:cubicBezTo>
                  <a:cubicBezTo>
                    <a:pt x="9570" y="19289"/>
                    <a:pt x="9599" y="19249"/>
                    <a:pt x="9625" y="19204"/>
                  </a:cubicBezTo>
                  <a:cubicBezTo>
                    <a:pt x="9647" y="19167"/>
                    <a:pt x="9667" y="19127"/>
                    <a:pt x="9684" y="19085"/>
                  </a:cubicBezTo>
                  <a:cubicBezTo>
                    <a:pt x="9697" y="19045"/>
                    <a:pt x="9711" y="19006"/>
                    <a:pt x="9726" y="18966"/>
                  </a:cubicBezTo>
                  <a:cubicBezTo>
                    <a:pt x="9741" y="18924"/>
                    <a:pt x="9756" y="18882"/>
                    <a:pt x="9772" y="18841"/>
                  </a:cubicBezTo>
                  <a:cubicBezTo>
                    <a:pt x="9774" y="18775"/>
                    <a:pt x="9777" y="18710"/>
                    <a:pt x="9780" y="18644"/>
                  </a:cubicBezTo>
                  <a:cubicBezTo>
                    <a:pt x="9783" y="18560"/>
                    <a:pt x="9787" y="18477"/>
                    <a:pt x="9791" y="18393"/>
                  </a:cubicBezTo>
                  <a:lnTo>
                    <a:pt x="9799" y="18288"/>
                  </a:lnTo>
                  <a:cubicBezTo>
                    <a:pt x="9805" y="18246"/>
                    <a:pt x="9812" y="18203"/>
                    <a:pt x="9819" y="18161"/>
                  </a:cubicBezTo>
                  <a:cubicBezTo>
                    <a:pt x="9829" y="18099"/>
                    <a:pt x="9840" y="18037"/>
                    <a:pt x="9852" y="17976"/>
                  </a:cubicBezTo>
                  <a:lnTo>
                    <a:pt x="9839" y="17816"/>
                  </a:lnTo>
                  <a:lnTo>
                    <a:pt x="9791" y="17643"/>
                  </a:lnTo>
                  <a:lnTo>
                    <a:pt x="9831" y="17391"/>
                  </a:lnTo>
                  <a:lnTo>
                    <a:pt x="9876" y="17301"/>
                  </a:lnTo>
                  <a:lnTo>
                    <a:pt x="10002" y="17165"/>
                  </a:lnTo>
                  <a:lnTo>
                    <a:pt x="10132" y="17023"/>
                  </a:lnTo>
                  <a:lnTo>
                    <a:pt x="10237" y="16902"/>
                  </a:lnTo>
                  <a:lnTo>
                    <a:pt x="10262" y="16723"/>
                  </a:lnTo>
                  <a:lnTo>
                    <a:pt x="10286" y="16610"/>
                  </a:lnTo>
                  <a:lnTo>
                    <a:pt x="10412" y="16555"/>
                  </a:lnTo>
                  <a:lnTo>
                    <a:pt x="10492" y="16493"/>
                  </a:lnTo>
                  <a:lnTo>
                    <a:pt x="10549" y="16327"/>
                  </a:lnTo>
                  <a:cubicBezTo>
                    <a:pt x="10554" y="16271"/>
                    <a:pt x="10568" y="16218"/>
                    <a:pt x="10590" y="16173"/>
                  </a:cubicBezTo>
                  <a:cubicBezTo>
                    <a:pt x="10626" y="16098"/>
                    <a:pt x="10680" y="16049"/>
                    <a:pt x="10740" y="16037"/>
                  </a:cubicBezTo>
                  <a:lnTo>
                    <a:pt x="10874" y="15975"/>
                  </a:lnTo>
                  <a:lnTo>
                    <a:pt x="10909" y="15840"/>
                  </a:lnTo>
                  <a:lnTo>
                    <a:pt x="10885" y="15717"/>
                  </a:lnTo>
                  <a:lnTo>
                    <a:pt x="10892" y="15606"/>
                  </a:lnTo>
                  <a:lnTo>
                    <a:pt x="11030" y="15483"/>
                  </a:lnTo>
                  <a:lnTo>
                    <a:pt x="11172" y="15422"/>
                  </a:lnTo>
                  <a:lnTo>
                    <a:pt x="11283" y="15422"/>
                  </a:lnTo>
                  <a:lnTo>
                    <a:pt x="11432" y="15358"/>
                  </a:lnTo>
                  <a:cubicBezTo>
                    <a:pt x="11441" y="15314"/>
                    <a:pt x="11462" y="15277"/>
                    <a:pt x="11490" y="15257"/>
                  </a:cubicBezTo>
                  <a:cubicBezTo>
                    <a:pt x="11517" y="15237"/>
                    <a:pt x="11549" y="15235"/>
                    <a:pt x="11578" y="15251"/>
                  </a:cubicBezTo>
                  <a:lnTo>
                    <a:pt x="11664" y="15279"/>
                  </a:lnTo>
                  <a:cubicBezTo>
                    <a:pt x="11683" y="15305"/>
                    <a:pt x="11699" y="15334"/>
                    <a:pt x="11713" y="15365"/>
                  </a:cubicBezTo>
                  <a:cubicBezTo>
                    <a:pt x="11732" y="15408"/>
                    <a:pt x="11745" y="15456"/>
                    <a:pt x="11753" y="15507"/>
                  </a:cubicBezTo>
                  <a:lnTo>
                    <a:pt x="11800" y="15701"/>
                  </a:lnTo>
                  <a:lnTo>
                    <a:pt x="11828" y="15833"/>
                  </a:lnTo>
                  <a:cubicBezTo>
                    <a:pt x="11839" y="15860"/>
                    <a:pt x="11854" y="15883"/>
                    <a:pt x="11872" y="15899"/>
                  </a:cubicBezTo>
                  <a:cubicBezTo>
                    <a:pt x="11906" y="15927"/>
                    <a:pt x="11947" y="15931"/>
                    <a:pt x="11982" y="15909"/>
                  </a:cubicBezTo>
                  <a:lnTo>
                    <a:pt x="12043" y="15981"/>
                  </a:lnTo>
                  <a:lnTo>
                    <a:pt x="12197" y="16141"/>
                  </a:lnTo>
                  <a:cubicBezTo>
                    <a:pt x="12217" y="16216"/>
                    <a:pt x="12238" y="16289"/>
                    <a:pt x="12262" y="16361"/>
                  </a:cubicBezTo>
                  <a:cubicBezTo>
                    <a:pt x="12295" y="16459"/>
                    <a:pt x="12331" y="16555"/>
                    <a:pt x="12368" y="16650"/>
                  </a:cubicBezTo>
                  <a:cubicBezTo>
                    <a:pt x="12386" y="16699"/>
                    <a:pt x="12405" y="16748"/>
                    <a:pt x="12423" y="16798"/>
                  </a:cubicBezTo>
                  <a:lnTo>
                    <a:pt x="12395" y="16894"/>
                  </a:lnTo>
                  <a:lnTo>
                    <a:pt x="12331" y="16954"/>
                  </a:lnTo>
                  <a:lnTo>
                    <a:pt x="12335" y="17094"/>
                  </a:lnTo>
                  <a:cubicBezTo>
                    <a:pt x="12355" y="17119"/>
                    <a:pt x="12375" y="17144"/>
                    <a:pt x="12396" y="17168"/>
                  </a:cubicBezTo>
                  <a:cubicBezTo>
                    <a:pt x="12423" y="17200"/>
                    <a:pt x="12450" y="17230"/>
                    <a:pt x="12478" y="17260"/>
                  </a:cubicBezTo>
                  <a:lnTo>
                    <a:pt x="12575" y="17255"/>
                  </a:lnTo>
                  <a:lnTo>
                    <a:pt x="12636" y="17120"/>
                  </a:lnTo>
                  <a:lnTo>
                    <a:pt x="12693" y="16980"/>
                  </a:lnTo>
                  <a:lnTo>
                    <a:pt x="12800" y="16904"/>
                  </a:lnTo>
                  <a:lnTo>
                    <a:pt x="12877" y="17115"/>
                  </a:lnTo>
                  <a:lnTo>
                    <a:pt x="12945" y="17317"/>
                  </a:lnTo>
                  <a:lnTo>
                    <a:pt x="12957" y="17518"/>
                  </a:lnTo>
                  <a:lnTo>
                    <a:pt x="13008" y="17691"/>
                  </a:lnTo>
                  <a:lnTo>
                    <a:pt x="13054" y="17855"/>
                  </a:lnTo>
                  <a:lnTo>
                    <a:pt x="13127" y="18014"/>
                  </a:lnTo>
                  <a:lnTo>
                    <a:pt x="13171" y="18203"/>
                  </a:lnTo>
                  <a:lnTo>
                    <a:pt x="13183" y="18371"/>
                  </a:lnTo>
                  <a:lnTo>
                    <a:pt x="13148" y="18675"/>
                  </a:lnTo>
                  <a:lnTo>
                    <a:pt x="13144" y="18870"/>
                  </a:lnTo>
                  <a:lnTo>
                    <a:pt x="13159" y="19080"/>
                  </a:lnTo>
                  <a:lnTo>
                    <a:pt x="13159" y="19174"/>
                  </a:lnTo>
                  <a:lnTo>
                    <a:pt x="13117" y="19238"/>
                  </a:lnTo>
                  <a:lnTo>
                    <a:pt x="13113" y="19347"/>
                  </a:lnTo>
                  <a:lnTo>
                    <a:pt x="13125" y="19507"/>
                  </a:lnTo>
                  <a:lnTo>
                    <a:pt x="13186" y="19549"/>
                  </a:lnTo>
                  <a:cubicBezTo>
                    <a:pt x="13215" y="19555"/>
                    <a:pt x="13242" y="19574"/>
                    <a:pt x="13263" y="19604"/>
                  </a:cubicBezTo>
                  <a:cubicBezTo>
                    <a:pt x="13285" y="19635"/>
                    <a:pt x="13300" y="19676"/>
                    <a:pt x="13306" y="19721"/>
                  </a:cubicBezTo>
                  <a:lnTo>
                    <a:pt x="13420" y="19817"/>
                  </a:lnTo>
                  <a:lnTo>
                    <a:pt x="13492" y="19981"/>
                  </a:lnTo>
                  <a:lnTo>
                    <a:pt x="13536" y="20099"/>
                  </a:lnTo>
                  <a:lnTo>
                    <a:pt x="13550" y="20266"/>
                  </a:lnTo>
                  <a:lnTo>
                    <a:pt x="13596" y="20554"/>
                  </a:lnTo>
                  <a:lnTo>
                    <a:pt x="13625" y="20775"/>
                  </a:lnTo>
                  <a:lnTo>
                    <a:pt x="13682" y="20923"/>
                  </a:lnTo>
                  <a:lnTo>
                    <a:pt x="13714" y="21021"/>
                  </a:lnTo>
                  <a:lnTo>
                    <a:pt x="13772" y="21189"/>
                  </a:lnTo>
                  <a:lnTo>
                    <a:pt x="13829" y="21220"/>
                  </a:lnTo>
                  <a:lnTo>
                    <a:pt x="13914" y="21327"/>
                  </a:lnTo>
                  <a:lnTo>
                    <a:pt x="13982" y="21385"/>
                  </a:lnTo>
                  <a:lnTo>
                    <a:pt x="14071" y="21477"/>
                  </a:lnTo>
                  <a:lnTo>
                    <a:pt x="14136" y="21600"/>
                  </a:lnTo>
                  <a:lnTo>
                    <a:pt x="14168" y="21558"/>
                  </a:lnTo>
                  <a:lnTo>
                    <a:pt x="14144" y="21461"/>
                  </a:lnTo>
                  <a:lnTo>
                    <a:pt x="14220" y="21456"/>
                  </a:lnTo>
                  <a:lnTo>
                    <a:pt x="14242" y="21376"/>
                  </a:lnTo>
                  <a:lnTo>
                    <a:pt x="14195" y="21227"/>
                  </a:lnTo>
                  <a:lnTo>
                    <a:pt x="14149" y="21028"/>
                  </a:lnTo>
                  <a:lnTo>
                    <a:pt x="14121" y="20856"/>
                  </a:lnTo>
                  <a:lnTo>
                    <a:pt x="14064" y="20706"/>
                  </a:lnTo>
                  <a:cubicBezTo>
                    <a:pt x="14060" y="20650"/>
                    <a:pt x="14051" y="20596"/>
                    <a:pt x="14037" y="20544"/>
                  </a:cubicBezTo>
                  <a:cubicBezTo>
                    <a:pt x="14023" y="20489"/>
                    <a:pt x="14004" y="20437"/>
                    <a:pt x="13980" y="20389"/>
                  </a:cubicBezTo>
                  <a:lnTo>
                    <a:pt x="13916" y="20256"/>
                  </a:lnTo>
                  <a:lnTo>
                    <a:pt x="13796" y="20153"/>
                  </a:lnTo>
                  <a:lnTo>
                    <a:pt x="13711" y="20030"/>
                  </a:lnTo>
                  <a:lnTo>
                    <a:pt x="13609" y="19920"/>
                  </a:lnTo>
                  <a:cubicBezTo>
                    <a:pt x="13556" y="19920"/>
                    <a:pt x="13507" y="19872"/>
                    <a:pt x="13485" y="19798"/>
                  </a:cubicBezTo>
                  <a:cubicBezTo>
                    <a:pt x="13470" y="19751"/>
                    <a:pt x="13469" y="19697"/>
                    <a:pt x="13481" y="19648"/>
                  </a:cubicBezTo>
                  <a:lnTo>
                    <a:pt x="13460" y="19495"/>
                  </a:lnTo>
                  <a:lnTo>
                    <a:pt x="13452" y="19396"/>
                  </a:lnTo>
                  <a:lnTo>
                    <a:pt x="13387" y="19310"/>
                  </a:lnTo>
                  <a:lnTo>
                    <a:pt x="13305" y="19191"/>
                  </a:lnTo>
                  <a:lnTo>
                    <a:pt x="13276" y="19059"/>
                  </a:lnTo>
                  <a:cubicBezTo>
                    <a:pt x="13277" y="19012"/>
                    <a:pt x="13280" y="18965"/>
                    <a:pt x="13285" y="18918"/>
                  </a:cubicBezTo>
                  <a:cubicBezTo>
                    <a:pt x="13292" y="18843"/>
                    <a:pt x="13304" y="18769"/>
                    <a:pt x="13320" y="18698"/>
                  </a:cubicBezTo>
                  <a:lnTo>
                    <a:pt x="13344" y="18550"/>
                  </a:lnTo>
                  <a:lnTo>
                    <a:pt x="13373" y="18396"/>
                  </a:lnTo>
                  <a:lnTo>
                    <a:pt x="13344" y="18289"/>
                  </a:lnTo>
                  <a:lnTo>
                    <a:pt x="13320" y="18141"/>
                  </a:lnTo>
                  <a:lnTo>
                    <a:pt x="13317" y="18024"/>
                  </a:lnTo>
                  <a:lnTo>
                    <a:pt x="13378" y="17962"/>
                  </a:lnTo>
                  <a:lnTo>
                    <a:pt x="13468" y="17956"/>
                  </a:lnTo>
                  <a:lnTo>
                    <a:pt x="13512" y="18073"/>
                  </a:lnTo>
                  <a:lnTo>
                    <a:pt x="13562" y="18139"/>
                  </a:lnTo>
                  <a:lnTo>
                    <a:pt x="13671" y="18279"/>
                  </a:lnTo>
                  <a:lnTo>
                    <a:pt x="13730" y="18310"/>
                  </a:lnTo>
                  <a:lnTo>
                    <a:pt x="13812" y="18382"/>
                  </a:lnTo>
                  <a:lnTo>
                    <a:pt x="13875" y="18423"/>
                  </a:lnTo>
                  <a:lnTo>
                    <a:pt x="13920" y="18490"/>
                  </a:lnTo>
                  <a:lnTo>
                    <a:pt x="13956" y="18648"/>
                  </a:lnTo>
                  <a:lnTo>
                    <a:pt x="14008" y="18743"/>
                  </a:lnTo>
                  <a:lnTo>
                    <a:pt x="14063" y="18771"/>
                  </a:lnTo>
                  <a:lnTo>
                    <a:pt x="14091" y="18862"/>
                  </a:lnTo>
                  <a:lnTo>
                    <a:pt x="14107" y="18940"/>
                  </a:lnTo>
                  <a:lnTo>
                    <a:pt x="14172" y="18933"/>
                  </a:lnTo>
                  <a:lnTo>
                    <a:pt x="14221" y="18872"/>
                  </a:lnTo>
                  <a:lnTo>
                    <a:pt x="14260" y="18826"/>
                  </a:lnTo>
                  <a:lnTo>
                    <a:pt x="14320" y="18833"/>
                  </a:lnTo>
                  <a:lnTo>
                    <a:pt x="14345" y="18921"/>
                  </a:lnTo>
                  <a:lnTo>
                    <a:pt x="14360" y="19056"/>
                  </a:lnTo>
                  <a:lnTo>
                    <a:pt x="14331" y="19130"/>
                  </a:lnTo>
                  <a:lnTo>
                    <a:pt x="14319" y="19343"/>
                  </a:lnTo>
                  <a:lnTo>
                    <a:pt x="14412" y="19408"/>
                  </a:lnTo>
                  <a:lnTo>
                    <a:pt x="14456" y="19286"/>
                  </a:lnTo>
                  <a:lnTo>
                    <a:pt x="14548" y="19241"/>
                  </a:lnTo>
                  <a:lnTo>
                    <a:pt x="14577" y="19051"/>
                  </a:lnTo>
                  <a:lnTo>
                    <a:pt x="14624" y="18944"/>
                  </a:lnTo>
                  <a:lnTo>
                    <a:pt x="14784" y="18882"/>
                  </a:lnTo>
                  <a:lnTo>
                    <a:pt x="14859" y="18791"/>
                  </a:lnTo>
                  <a:lnTo>
                    <a:pt x="15001" y="18675"/>
                  </a:lnTo>
                  <a:lnTo>
                    <a:pt x="15018" y="18428"/>
                  </a:lnTo>
                  <a:cubicBezTo>
                    <a:pt x="15027" y="18358"/>
                    <a:pt x="15029" y="18286"/>
                    <a:pt x="15026" y="18214"/>
                  </a:cubicBezTo>
                  <a:cubicBezTo>
                    <a:pt x="15023" y="18158"/>
                    <a:pt x="15016" y="18102"/>
                    <a:pt x="15005" y="18048"/>
                  </a:cubicBezTo>
                  <a:lnTo>
                    <a:pt x="14951" y="17795"/>
                  </a:lnTo>
                  <a:lnTo>
                    <a:pt x="14866" y="17561"/>
                  </a:lnTo>
                  <a:lnTo>
                    <a:pt x="14850" y="17352"/>
                  </a:lnTo>
                  <a:lnTo>
                    <a:pt x="14784" y="17141"/>
                  </a:lnTo>
                  <a:lnTo>
                    <a:pt x="14703" y="17036"/>
                  </a:lnTo>
                  <a:lnTo>
                    <a:pt x="14574" y="16931"/>
                  </a:lnTo>
                  <a:lnTo>
                    <a:pt x="14515" y="16866"/>
                  </a:lnTo>
                  <a:lnTo>
                    <a:pt x="14356" y="16669"/>
                  </a:lnTo>
                  <a:lnTo>
                    <a:pt x="14313" y="16504"/>
                  </a:lnTo>
                  <a:lnTo>
                    <a:pt x="14270" y="16280"/>
                  </a:lnTo>
                  <a:lnTo>
                    <a:pt x="14249" y="16054"/>
                  </a:lnTo>
                  <a:lnTo>
                    <a:pt x="14249" y="15855"/>
                  </a:lnTo>
                  <a:lnTo>
                    <a:pt x="14310" y="15701"/>
                  </a:lnTo>
                  <a:lnTo>
                    <a:pt x="14404" y="15603"/>
                  </a:lnTo>
                  <a:lnTo>
                    <a:pt x="14539" y="15572"/>
                  </a:lnTo>
                  <a:lnTo>
                    <a:pt x="14646" y="15529"/>
                  </a:lnTo>
                  <a:lnTo>
                    <a:pt x="14709" y="15498"/>
                  </a:lnTo>
                  <a:lnTo>
                    <a:pt x="14801" y="15566"/>
                  </a:lnTo>
                  <a:lnTo>
                    <a:pt x="14849" y="15613"/>
                  </a:lnTo>
                  <a:lnTo>
                    <a:pt x="14905" y="15711"/>
                  </a:lnTo>
                  <a:lnTo>
                    <a:pt x="14913" y="15816"/>
                  </a:lnTo>
                  <a:lnTo>
                    <a:pt x="14978" y="15932"/>
                  </a:lnTo>
                  <a:lnTo>
                    <a:pt x="15034" y="15903"/>
                  </a:lnTo>
                  <a:lnTo>
                    <a:pt x="15067" y="15749"/>
                  </a:lnTo>
                  <a:lnTo>
                    <a:pt x="15119" y="15621"/>
                  </a:lnTo>
                  <a:lnTo>
                    <a:pt x="15197" y="15541"/>
                  </a:lnTo>
                  <a:lnTo>
                    <a:pt x="15236" y="15492"/>
                  </a:lnTo>
                  <a:lnTo>
                    <a:pt x="15356" y="15426"/>
                  </a:lnTo>
                  <a:lnTo>
                    <a:pt x="15409" y="15420"/>
                  </a:lnTo>
                  <a:lnTo>
                    <a:pt x="15506" y="15420"/>
                  </a:lnTo>
                  <a:cubicBezTo>
                    <a:pt x="15541" y="15410"/>
                    <a:pt x="15576" y="15402"/>
                    <a:pt x="15611" y="15395"/>
                  </a:cubicBezTo>
                  <a:cubicBezTo>
                    <a:pt x="15656" y="15387"/>
                    <a:pt x="15702" y="15382"/>
                    <a:pt x="15748" y="15381"/>
                  </a:cubicBezTo>
                  <a:lnTo>
                    <a:pt x="15797" y="15264"/>
                  </a:lnTo>
                  <a:lnTo>
                    <a:pt x="15824" y="15215"/>
                  </a:lnTo>
                  <a:lnTo>
                    <a:pt x="15922" y="15247"/>
                  </a:lnTo>
                  <a:lnTo>
                    <a:pt x="16095" y="15132"/>
                  </a:lnTo>
                  <a:lnTo>
                    <a:pt x="16192" y="15009"/>
                  </a:lnTo>
                  <a:lnTo>
                    <a:pt x="16270" y="14854"/>
                  </a:lnTo>
                  <a:lnTo>
                    <a:pt x="16310" y="14737"/>
                  </a:lnTo>
                  <a:lnTo>
                    <a:pt x="16407" y="14620"/>
                  </a:lnTo>
                  <a:lnTo>
                    <a:pt x="16439" y="14464"/>
                  </a:lnTo>
                  <a:lnTo>
                    <a:pt x="16441" y="14274"/>
                  </a:lnTo>
                  <a:lnTo>
                    <a:pt x="16474" y="14063"/>
                  </a:lnTo>
                  <a:lnTo>
                    <a:pt x="16523" y="13908"/>
                  </a:lnTo>
                  <a:cubicBezTo>
                    <a:pt x="16537" y="13860"/>
                    <a:pt x="16549" y="13811"/>
                    <a:pt x="16559" y="13760"/>
                  </a:cubicBezTo>
                  <a:cubicBezTo>
                    <a:pt x="16573" y="13694"/>
                    <a:pt x="16583" y="13626"/>
                    <a:pt x="16590" y="13557"/>
                  </a:cubicBezTo>
                  <a:lnTo>
                    <a:pt x="16618" y="13434"/>
                  </a:lnTo>
                  <a:lnTo>
                    <a:pt x="16612" y="13238"/>
                  </a:lnTo>
                  <a:lnTo>
                    <a:pt x="16579" y="13087"/>
                  </a:lnTo>
                  <a:lnTo>
                    <a:pt x="16463" y="13118"/>
                  </a:lnTo>
                  <a:lnTo>
                    <a:pt x="16401" y="13023"/>
                  </a:lnTo>
                  <a:lnTo>
                    <a:pt x="16404" y="12902"/>
                  </a:lnTo>
                  <a:lnTo>
                    <a:pt x="16500" y="12877"/>
                  </a:lnTo>
                  <a:lnTo>
                    <a:pt x="16499" y="12711"/>
                  </a:lnTo>
                  <a:lnTo>
                    <a:pt x="16452" y="12608"/>
                  </a:lnTo>
                  <a:lnTo>
                    <a:pt x="16290" y="12516"/>
                  </a:lnTo>
                  <a:lnTo>
                    <a:pt x="16202" y="12414"/>
                  </a:lnTo>
                  <a:lnTo>
                    <a:pt x="16127" y="12274"/>
                  </a:lnTo>
                  <a:lnTo>
                    <a:pt x="16079" y="12031"/>
                  </a:lnTo>
                  <a:lnTo>
                    <a:pt x="16006" y="11871"/>
                  </a:lnTo>
                  <a:lnTo>
                    <a:pt x="15922" y="11816"/>
                  </a:lnTo>
                  <a:lnTo>
                    <a:pt x="15808" y="11687"/>
                  </a:lnTo>
                  <a:lnTo>
                    <a:pt x="15821" y="11475"/>
                  </a:lnTo>
                  <a:lnTo>
                    <a:pt x="15861" y="11346"/>
                  </a:lnTo>
                  <a:lnTo>
                    <a:pt x="15955" y="11253"/>
                  </a:lnTo>
                  <a:lnTo>
                    <a:pt x="16048" y="11167"/>
                  </a:lnTo>
                  <a:lnTo>
                    <a:pt x="16158" y="11093"/>
                  </a:lnTo>
                  <a:lnTo>
                    <a:pt x="16213" y="11001"/>
                  </a:lnTo>
                  <a:lnTo>
                    <a:pt x="16121" y="10906"/>
                  </a:lnTo>
                  <a:lnTo>
                    <a:pt x="16057" y="10878"/>
                  </a:lnTo>
                  <a:lnTo>
                    <a:pt x="15876" y="10796"/>
                  </a:lnTo>
                  <a:lnTo>
                    <a:pt x="15787" y="10913"/>
                  </a:lnTo>
                  <a:lnTo>
                    <a:pt x="15726" y="10986"/>
                  </a:lnTo>
                  <a:lnTo>
                    <a:pt x="15616" y="10898"/>
                  </a:lnTo>
                  <a:lnTo>
                    <a:pt x="15572" y="10814"/>
                  </a:lnTo>
                  <a:lnTo>
                    <a:pt x="15466" y="10773"/>
                  </a:lnTo>
                  <a:lnTo>
                    <a:pt x="15240" y="10656"/>
                  </a:lnTo>
                  <a:lnTo>
                    <a:pt x="15246" y="10486"/>
                  </a:lnTo>
                  <a:lnTo>
                    <a:pt x="15242" y="10361"/>
                  </a:lnTo>
                  <a:lnTo>
                    <a:pt x="15301" y="10324"/>
                  </a:lnTo>
                  <a:lnTo>
                    <a:pt x="15407" y="10336"/>
                  </a:lnTo>
                  <a:lnTo>
                    <a:pt x="15531" y="10149"/>
                  </a:lnTo>
                  <a:lnTo>
                    <a:pt x="15564" y="10015"/>
                  </a:lnTo>
                  <a:lnTo>
                    <a:pt x="15631" y="9837"/>
                  </a:lnTo>
                  <a:lnTo>
                    <a:pt x="15707" y="9806"/>
                  </a:lnTo>
                  <a:lnTo>
                    <a:pt x="15791" y="9837"/>
                  </a:lnTo>
                  <a:lnTo>
                    <a:pt x="15841" y="9943"/>
                  </a:lnTo>
                  <a:lnTo>
                    <a:pt x="15848" y="10050"/>
                  </a:lnTo>
                  <a:lnTo>
                    <a:pt x="15863" y="10231"/>
                  </a:lnTo>
                  <a:lnTo>
                    <a:pt x="15907" y="10340"/>
                  </a:lnTo>
                  <a:lnTo>
                    <a:pt x="15948" y="10401"/>
                  </a:lnTo>
                  <a:lnTo>
                    <a:pt x="16001" y="10382"/>
                  </a:lnTo>
                  <a:lnTo>
                    <a:pt x="16072" y="10288"/>
                  </a:lnTo>
                  <a:lnTo>
                    <a:pt x="16148" y="10200"/>
                  </a:lnTo>
                  <a:lnTo>
                    <a:pt x="16274" y="10150"/>
                  </a:lnTo>
                  <a:lnTo>
                    <a:pt x="16333" y="10181"/>
                  </a:lnTo>
                  <a:lnTo>
                    <a:pt x="16409" y="10234"/>
                  </a:lnTo>
                  <a:lnTo>
                    <a:pt x="16525" y="10312"/>
                  </a:lnTo>
                  <a:lnTo>
                    <a:pt x="16590" y="10442"/>
                  </a:lnTo>
                  <a:lnTo>
                    <a:pt x="16527" y="10497"/>
                  </a:lnTo>
                  <a:lnTo>
                    <a:pt x="16523" y="10644"/>
                  </a:lnTo>
                  <a:lnTo>
                    <a:pt x="16588" y="10729"/>
                  </a:lnTo>
                  <a:lnTo>
                    <a:pt x="16695" y="10722"/>
                  </a:lnTo>
                  <a:lnTo>
                    <a:pt x="16853" y="10809"/>
                  </a:lnTo>
                  <a:lnTo>
                    <a:pt x="16926" y="10987"/>
                  </a:lnTo>
                  <a:lnTo>
                    <a:pt x="16986" y="11078"/>
                  </a:lnTo>
                  <a:lnTo>
                    <a:pt x="17010" y="11232"/>
                  </a:lnTo>
                  <a:lnTo>
                    <a:pt x="17031" y="11349"/>
                  </a:lnTo>
                  <a:lnTo>
                    <a:pt x="17059" y="11498"/>
                  </a:lnTo>
                  <a:lnTo>
                    <a:pt x="17071" y="11651"/>
                  </a:lnTo>
                  <a:lnTo>
                    <a:pt x="17130" y="11766"/>
                  </a:lnTo>
                  <a:lnTo>
                    <a:pt x="17195" y="11815"/>
                  </a:lnTo>
                  <a:lnTo>
                    <a:pt x="17296" y="11702"/>
                  </a:lnTo>
                  <a:lnTo>
                    <a:pt x="17415" y="11614"/>
                  </a:lnTo>
                  <a:lnTo>
                    <a:pt x="17496" y="11558"/>
                  </a:lnTo>
                  <a:lnTo>
                    <a:pt x="17559" y="11499"/>
                  </a:lnTo>
                  <a:cubicBezTo>
                    <a:pt x="17562" y="11433"/>
                    <a:pt x="17556" y="11367"/>
                    <a:pt x="17540" y="11306"/>
                  </a:cubicBezTo>
                  <a:cubicBezTo>
                    <a:pt x="17525" y="11249"/>
                    <a:pt x="17502" y="11197"/>
                    <a:pt x="17473" y="11154"/>
                  </a:cubicBezTo>
                  <a:lnTo>
                    <a:pt x="17400" y="10964"/>
                  </a:lnTo>
                  <a:lnTo>
                    <a:pt x="17298" y="10799"/>
                  </a:lnTo>
                  <a:lnTo>
                    <a:pt x="17248" y="10793"/>
                  </a:lnTo>
                  <a:lnTo>
                    <a:pt x="17072" y="10623"/>
                  </a:lnTo>
                  <a:lnTo>
                    <a:pt x="16989" y="10544"/>
                  </a:lnTo>
                  <a:lnTo>
                    <a:pt x="16900" y="10423"/>
                  </a:lnTo>
                  <a:lnTo>
                    <a:pt x="16820" y="10351"/>
                  </a:lnTo>
                  <a:lnTo>
                    <a:pt x="16820" y="10220"/>
                  </a:lnTo>
                  <a:lnTo>
                    <a:pt x="16933" y="10133"/>
                  </a:lnTo>
                  <a:lnTo>
                    <a:pt x="17068" y="10029"/>
                  </a:lnTo>
                  <a:lnTo>
                    <a:pt x="17083" y="9914"/>
                  </a:lnTo>
                  <a:lnTo>
                    <a:pt x="17049" y="9761"/>
                  </a:lnTo>
                  <a:lnTo>
                    <a:pt x="16957" y="9770"/>
                  </a:lnTo>
                  <a:cubicBezTo>
                    <a:pt x="16942" y="9699"/>
                    <a:pt x="16956" y="9621"/>
                    <a:pt x="16992" y="9571"/>
                  </a:cubicBezTo>
                  <a:cubicBezTo>
                    <a:pt x="17020" y="9533"/>
                    <a:pt x="17058" y="9517"/>
                    <a:pt x="17095" y="9528"/>
                  </a:cubicBezTo>
                  <a:cubicBezTo>
                    <a:pt x="17106" y="9498"/>
                    <a:pt x="17116" y="9467"/>
                    <a:pt x="17123" y="9435"/>
                  </a:cubicBezTo>
                  <a:cubicBezTo>
                    <a:pt x="17139" y="9373"/>
                    <a:pt x="17147" y="9308"/>
                    <a:pt x="17149" y="9242"/>
                  </a:cubicBezTo>
                  <a:lnTo>
                    <a:pt x="17174" y="9110"/>
                  </a:lnTo>
                  <a:lnTo>
                    <a:pt x="17248" y="9178"/>
                  </a:lnTo>
                  <a:lnTo>
                    <a:pt x="17347" y="9270"/>
                  </a:lnTo>
                  <a:lnTo>
                    <a:pt x="17392" y="9297"/>
                  </a:lnTo>
                  <a:lnTo>
                    <a:pt x="17514" y="9286"/>
                  </a:lnTo>
                  <a:lnTo>
                    <a:pt x="17568" y="9177"/>
                  </a:lnTo>
                  <a:cubicBezTo>
                    <a:pt x="17590" y="9119"/>
                    <a:pt x="17610" y="9059"/>
                    <a:pt x="17626" y="8997"/>
                  </a:cubicBezTo>
                  <a:cubicBezTo>
                    <a:pt x="17641" y="8944"/>
                    <a:pt x="17653" y="8890"/>
                    <a:pt x="17663" y="8835"/>
                  </a:cubicBezTo>
                  <a:lnTo>
                    <a:pt x="17709" y="8691"/>
                  </a:lnTo>
                  <a:lnTo>
                    <a:pt x="17732" y="8540"/>
                  </a:lnTo>
                  <a:lnTo>
                    <a:pt x="17783" y="8406"/>
                  </a:lnTo>
                  <a:lnTo>
                    <a:pt x="17835" y="8208"/>
                  </a:lnTo>
                  <a:lnTo>
                    <a:pt x="17770" y="8060"/>
                  </a:lnTo>
                  <a:lnTo>
                    <a:pt x="17770" y="7890"/>
                  </a:lnTo>
                  <a:lnTo>
                    <a:pt x="17823" y="7767"/>
                  </a:lnTo>
                  <a:lnTo>
                    <a:pt x="17830" y="7600"/>
                  </a:lnTo>
                  <a:cubicBezTo>
                    <a:pt x="17813" y="7554"/>
                    <a:pt x="17796" y="7509"/>
                    <a:pt x="17778" y="7463"/>
                  </a:cubicBezTo>
                  <a:cubicBezTo>
                    <a:pt x="17763" y="7423"/>
                    <a:pt x="17747" y="7384"/>
                    <a:pt x="17735" y="7341"/>
                  </a:cubicBezTo>
                  <a:cubicBezTo>
                    <a:pt x="17715" y="7271"/>
                    <a:pt x="17705" y="7195"/>
                    <a:pt x="17707" y="7119"/>
                  </a:cubicBezTo>
                  <a:lnTo>
                    <a:pt x="17634" y="7044"/>
                  </a:lnTo>
                  <a:lnTo>
                    <a:pt x="17580" y="7052"/>
                  </a:lnTo>
                  <a:lnTo>
                    <a:pt x="17503" y="6849"/>
                  </a:lnTo>
                  <a:lnTo>
                    <a:pt x="17459" y="6758"/>
                  </a:lnTo>
                  <a:lnTo>
                    <a:pt x="17435" y="6611"/>
                  </a:lnTo>
                  <a:lnTo>
                    <a:pt x="17373" y="6495"/>
                  </a:lnTo>
                  <a:lnTo>
                    <a:pt x="17240" y="6324"/>
                  </a:lnTo>
                  <a:lnTo>
                    <a:pt x="17132" y="6263"/>
                  </a:lnTo>
                  <a:lnTo>
                    <a:pt x="17059" y="6103"/>
                  </a:lnTo>
                  <a:lnTo>
                    <a:pt x="16962" y="6028"/>
                  </a:lnTo>
                  <a:lnTo>
                    <a:pt x="16881" y="6047"/>
                  </a:lnTo>
                  <a:lnTo>
                    <a:pt x="16783" y="6115"/>
                  </a:lnTo>
                  <a:lnTo>
                    <a:pt x="16687" y="6140"/>
                  </a:lnTo>
                  <a:lnTo>
                    <a:pt x="16607" y="6103"/>
                  </a:lnTo>
                  <a:lnTo>
                    <a:pt x="16460" y="6072"/>
                  </a:lnTo>
                  <a:lnTo>
                    <a:pt x="16403" y="6004"/>
                  </a:lnTo>
                  <a:lnTo>
                    <a:pt x="16326" y="5924"/>
                  </a:lnTo>
                  <a:lnTo>
                    <a:pt x="16206" y="5924"/>
                  </a:lnTo>
                  <a:lnTo>
                    <a:pt x="16146" y="5807"/>
                  </a:lnTo>
                  <a:lnTo>
                    <a:pt x="16226" y="5720"/>
                  </a:lnTo>
                  <a:lnTo>
                    <a:pt x="16275" y="5634"/>
                  </a:lnTo>
                  <a:lnTo>
                    <a:pt x="16349" y="5282"/>
                  </a:lnTo>
                  <a:lnTo>
                    <a:pt x="16330" y="5106"/>
                  </a:lnTo>
                  <a:lnTo>
                    <a:pt x="16362" y="4989"/>
                  </a:lnTo>
                  <a:lnTo>
                    <a:pt x="16434" y="4856"/>
                  </a:lnTo>
                  <a:lnTo>
                    <a:pt x="16537" y="4743"/>
                  </a:lnTo>
                  <a:lnTo>
                    <a:pt x="16606" y="4658"/>
                  </a:lnTo>
                  <a:lnTo>
                    <a:pt x="16694" y="4611"/>
                  </a:lnTo>
                  <a:lnTo>
                    <a:pt x="16817" y="4582"/>
                  </a:lnTo>
                  <a:lnTo>
                    <a:pt x="16917" y="4582"/>
                  </a:lnTo>
                  <a:lnTo>
                    <a:pt x="17020" y="4619"/>
                  </a:lnTo>
                  <a:lnTo>
                    <a:pt x="17129" y="4632"/>
                  </a:lnTo>
                  <a:lnTo>
                    <a:pt x="17261" y="4626"/>
                  </a:lnTo>
                  <a:lnTo>
                    <a:pt x="17398" y="4558"/>
                  </a:lnTo>
                  <a:lnTo>
                    <a:pt x="17471" y="4527"/>
                  </a:lnTo>
                  <a:lnTo>
                    <a:pt x="17580" y="4490"/>
                  </a:lnTo>
                  <a:lnTo>
                    <a:pt x="17633" y="4527"/>
                  </a:lnTo>
                  <a:lnTo>
                    <a:pt x="17686" y="4607"/>
                  </a:lnTo>
                  <a:lnTo>
                    <a:pt x="17787" y="4674"/>
                  </a:lnTo>
                  <a:lnTo>
                    <a:pt x="17836" y="4724"/>
                  </a:lnTo>
                  <a:lnTo>
                    <a:pt x="17952" y="4730"/>
                  </a:lnTo>
                  <a:lnTo>
                    <a:pt x="18081" y="4644"/>
                  </a:lnTo>
                  <a:lnTo>
                    <a:pt x="18189" y="4625"/>
                  </a:lnTo>
                  <a:lnTo>
                    <a:pt x="18143" y="4366"/>
                  </a:lnTo>
                  <a:cubicBezTo>
                    <a:pt x="18105" y="4367"/>
                    <a:pt x="18070" y="4330"/>
                    <a:pt x="18058" y="4274"/>
                  </a:cubicBezTo>
                  <a:cubicBezTo>
                    <a:pt x="18044" y="4208"/>
                    <a:pt x="18064" y="4136"/>
                    <a:pt x="18106" y="4107"/>
                  </a:cubicBezTo>
                  <a:cubicBezTo>
                    <a:pt x="18105" y="4044"/>
                    <a:pt x="18122" y="3983"/>
                    <a:pt x="18153" y="3941"/>
                  </a:cubicBezTo>
                  <a:cubicBezTo>
                    <a:pt x="18184" y="3898"/>
                    <a:pt x="18225" y="3878"/>
                    <a:pt x="18266" y="3886"/>
                  </a:cubicBezTo>
                  <a:lnTo>
                    <a:pt x="18388" y="3912"/>
                  </a:lnTo>
                  <a:lnTo>
                    <a:pt x="18433" y="3986"/>
                  </a:lnTo>
                  <a:lnTo>
                    <a:pt x="18561" y="3941"/>
                  </a:lnTo>
                  <a:lnTo>
                    <a:pt x="18622" y="4058"/>
                  </a:lnTo>
                  <a:lnTo>
                    <a:pt x="18642" y="4156"/>
                  </a:lnTo>
                  <a:lnTo>
                    <a:pt x="18742" y="4173"/>
                  </a:lnTo>
                  <a:lnTo>
                    <a:pt x="18819" y="4105"/>
                  </a:lnTo>
                  <a:lnTo>
                    <a:pt x="18815" y="3967"/>
                  </a:lnTo>
                  <a:lnTo>
                    <a:pt x="18815" y="3844"/>
                  </a:lnTo>
                  <a:lnTo>
                    <a:pt x="18867" y="3773"/>
                  </a:lnTo>
                  <a:lnTo>
                    <a:pt x="18940" y="3726"/>
                  </a:lnTo>
                  <a:lnTo>
                    <a:pt x="19014" y="3739"/>
                  </a:lnTo>
                  <a:lnTo>
                    <a:pt x="19059" y="3881"/>
                  </a:lnTo>
                  <a:lnTo>
                    <a:pt x="19100" y="4056"/>
                  </a:lnTo>
                  <a:lnTo>
                    <a:pt x="19170" y="4183"/>
                  </a:lnTo>
                  <a:lnTo>
                    <a:pt x="19186" y="4282"/>
                  </a:lnTo>
                  <a:lnTo>
                    <a:pt x="19098" y="4430"/>
                  </a:lnTo>
                  <a:lnTo>
                    <a:pt x="19067" y="4607"/>
                  </a:lnTo>
                  <a:lnTo>
                    <a:pt x="19096" y="4814"/>
                  </a:lnTo>
                  <a:lnTo>
                    <a:pt x="19031" y="4991"/>
                  </a:lnTo>
                  <a:lnTo>
                    <a:pt x="18966" y="5108"/>
                  </a:lnTo>
                  <a:cubicBezTo>
                    <a:pt x="18954" y="5143"/>
                    <a:pt x="18950" y="5183"/>
                    <a:pt x="18953" y="5223"/>
                  </a:cubicBezTo>
                  <a:cubicBezTo>
                    <a:pt x="18962" y="5311"/>
                    <a:pt x="19008" y="5380"/>
                    <a:pt x="19066" y="5393"/>
                  </a:cubicBezTo>
                  <a:lnTo>
                    <a:pt x="19082" y="5556"/>
                  </a:lnTo>
                  <a:lnTo>
                    <a:pt x="19157" y="5665"/>
                  </a:lnTo>
                  <a:lnTo>
                    <a:pt x="19206" y="5747"/>
                  </a:lnTo>
                  <a:lnTo>
                    <a:pt x="19243" y="5909"/>
                  </a:lnTo>
                  <a:lnTo>
                    <a:pt x="19298" y="5952"/>
                  </a:lnTo>
                  <a:lnTo>
                    <a:pt x="19402" y="6100"/>
                  </a:lnTo>
                  <a:lnTo>
                    <a:pt x="19470" y="6174"/>
                  </a:lnTo>
                  <a:lnTo>
                    <a:pt x="19527" y="6193"/>
                  </a:lnTo>
                  <a:lnTo>
                    <a:pt x="19531" y="6369"/>
                  </a:lnTo>
                  <a:lnTo>
                    <a:pt x="19624" y="6357"/>
                  </a:lnTo>
                  <a:lnTo>
                    <a:pt x="19673" y="6369"/>
                  </a:lnTo>
                  <a:lnTo>
                    <a:pt x="19721" y="6499"/>
                  </a:lnTo>
                  <a:lnTo>
                    <a:pt x="19782" y="6579"/>
                  </a:lnTo>
                  <a:lnTo>
                    <a:pt x="19822" y="6747"/>
                  </a:lnTo>
                  <a:lnTo>
                    <a:pt x="19922" y="6825"/>
                  </a:lnTo>
                  <a:lnTo>
                    <a:pt x="19989" y="6912"/>
                  </a:lnTo>
                  <a:lnTo>
                    <a:pt x="20047" y="6840"/>
                  </a:lnTo>
                  <a:lnTo>
                    <a:pt x="20095" y="6770"/>
                  </a:lnTo>
                  <a:lnTo>
                    <a:pt x="20141" y="6776"/>
                  </a:lnTo>
                  <a:lnTo>
                    <a:pt x="20122" y="6661"/>
                  </a:lnTo>
                  <a:cubicBezTo>
                    <a:pt x="20096" y="6629"/>
                    <a:pt x="20076" y="6588"/>
                    <a:pt x="20063" y="6541"/>
                  </a:cubicBezTo>
                  <a:cubicBezTo>
                    <a:pt x="20048" y="6486"/>
                    <a:pt x="20044" y="6426"/>
                    <a:pt x="20051" y="6368"/>
                  </a:cubicBezTo>
                  <a:lnTo>
                    <a:pt x="20097" y="6333"/>
                  </a:lnTo>
                  <a:lnTo>
                    <a:pt x="20060" y="6229"/>
                  </a:lnTo>
                  <a:lnTo>
                    <a:pt x="20028" y="6130"/>
                  </a:lnTo>
                  <a:cubicBezTo>
                    <a:pt x="20017" y="6102"/>
                    <a:pt x="20015" y="6068"/>
                    <a:pt x="20024" y="6038"/>
                  </a:cubicBezTo>
                  <a:cubicBezTo>
                    <a:pt x="20032" y="6008"/>
                    <a:pt x="20050" y="5987"/>
                    <a:pt x="20071" y="5981"/>
                  </a:cubicBezTo>
                  <a:lnTo>
                    <a:pt x="20148" y="5952"/>
                  </a:lnTo>
                  <a:lnTo>
                    <a:pt x="20116" y="5824"/>
                  </a:lnTo>
                  <a:lnTo>
                    <a:pt x="20073" y="5726"/>
                  </a:lnTo>
                  <a:lnTo>
                    <a:pt x="20027" y="5675"/>
                  </a:lnTo>
                  <a:lnTo>
                    <a:pt x="19988" y="5459"/>
                  </a:lnTo>
                  <a:lnTo>
                    <a:pt x="19971" y="5357"/>
                  </a:lnTo>
                  <a:lnTo>
                    <a:pt x="19889" y="5276"/>
                  </a:lnTo>
                  <a:cubicBezTo>
                    <a:pt x="19848" y="5275"/>
                    <a:pt x="19809" y="5248"/>
                    <a:pt x="19781" y="5203"/>
                  </a:cubicBezTo>
                  <a:cubicBezTo>
                    <a:pt x="19758" y="5165"/>
                    <a:pt x="19743" y="5118"/>
                    <a:pt x="19740" y="5067"/>
                  </a:cubicBezTo>
                  <a:lnTo>
                    <a:pt x="19649" y="5030"/>
                  </a:lnTo>
                  <a:lnTo>
                    <a:pt x="19552" y="5065"/>
                  </a:lnTo>
                  <a:lnTo>
                    <a:pt x="19499" y="4954"/>
                  </a:lnTo>
                  <a:lnTo>
                    <a:pt x="19530" y="4815"/>
                  </a:lnTo>
                  <a:lnTo>
                    <a:pt x="19474" y="4739"/>
                  </a:lnTo>
                  <a:lnTo>
                    <a:pt x="19445" y="4653"/>
                  </a:lnTo>
                  <a:lnTo>
                    <a:pt x="19429" y="4566"/>
                  </a:lnTo>
                  <a:lnTo>
                    <a:pt x="19532" y="4463"/>
                  </a:lnTo>
                  <a:lnTo>
                    <a:pt x="19674" y="4445"/>
                  </a:lnTo>
                  <a:lnTo>
                    <a:pt x="19757" y="4410"/>
                  </a:lnTo>
                  <a:lnTo>
                    <a:pt x="19810" y="4391"/>
                  </a:lnTo>
                  <a:lnTo>
                    <a:pt x="19862" y="4330"/>
                  </a:lnTo>
                  <a:lnTo>
                    <a:pt x="19913" y="4237"/>
                  </a:lnTo>
                  <a:lnTo>
                    <a:pt x="19960" y="4135"/>
                  </a:lnTo>
                  <a:lnTo>
                    <a:pt x="20017" y="4135"/>
                  </a:lnTo>
                  <a:lnTo>
                    <a:pt x="20052" y="4258"/>
                  </a:lnTo>
                  <a:lnTo>
                    <a:pt x="20103" y="4307"/>
                  </a:lnTo>
                  <a:lnTo>
                    <a:pt x="20167" y="4360"/>
                  </a:lnTo>
                  <a:lnTo>
                    <a:pt x="20240" y="4360"/>
                  </a:lnTo>
                  <a:lnTo>
                    <a:pt x="20330" y="4258"/>
                  </a:lnTo>
                  <a:lnTo>
                    <a:pt x="20441" y="4155"/>
                  </a:lnTo>
                  <a:lnTo>
                    <a:pt x="20460" y="4007"/>
                  </a:lnTo>
                  <a:lnTo>
                    <a:pt x="20532" y="3897"/>
                  </a:lnTo>
                  <a:lnTo>
                    <a:pt x="20647" y="3796"/>
                  </a:lnTo>
                  <a:lnTo>
                    <a:pt x="20690" y="3796"/>
                  </a:lnTo>
                  <a:lnTo>
                    <a:pt x="20798" y="3815"/>
                  </a:lnTo>
                  <a:lnTo>
                    <a:pt x="20974" y="3825"/>
                  </a:lnTo>
                  <a:lnTo>
                    <a:pt x="21043" y="3689"/>
                  </a:lnTo>
                  <a:lnTo>
                    <a:pt x="20828" y="3616"/>
                  </a:lnTo>
                  <a:lnTo>
                    <a:pt x="20699" y="3488"/>
                  </a:lnTo>
                  <a:cubicBezTo>
                    <a:pt x="20651" y="3440"/>
                    <a:pt x="20598" y="3408"/>
                    <a:pt x="20541" y="3395"/>
                  </a:cubicBezTo>
                  <a:cubicBezTo>
                    <a:pt x="20487" y="3382"/>
                    <a:pt x="20431" y="3387"/>
                    <a:pt x="20377" y="3369"/>
                  </a:cubicBezTo>
                  <a:cubicBezTo>
                    <a:pt x="20319" y="3349"/>
                    <a:pt x="20265" y="3304"/>
                    <a:pt x="20223" y="3239"/>
                  </a:cubicBezTo>
                  <a:lnTo>
                    <a:pt x="20154" y="3103"/>
                  </a:lnTo>
                  <a:lnTo>
                    <a:pt x="20236" y="3024"/>
                  </a:lnTo>
                  <a:lnTo>
                    <a:pt x="20355" y="3107"/>
                  </a:lnTo>
                  <a:lnTo>
                    <a:pt x="20443" y="3134"/>
                  </a:lnTo>
                  <a:lnTo>
                    <a:pt x="20540" y="3140"/>
                  </a:lnTo>
                  <a:lnTo>
                    <a:pt x="20552" y="3056"/>
                  </a:lnTo>
                  <a:lnTo>
                    <a:pt x="20456" y="2990"/>
                  </a:lnTo>
                  <a:lnTo>
                    <a:pt x="20365" y="2851"/>
                  </a:lnTo>
                  <a:lnTo>
                    <a:pt x="20463" y="2783"/>
                  </a:lnTo>
                  <a:lnTo>
                    <a:pt x="20569" y="2870"/>
                  </a:lnTo>
                  <a:lnTo>
                    <a:pt x="20686" y="2876"/>
                  </a:lnTo>
                  <a:lnTo>
                    <a:pt x="20806" y="2925"/>
                  </a:lnTo>
                  <a:lnTo>
                    <a:pt x="20940" y="2947"/>
                  </a:lnTo>
                  <a:lnTo>
                    <a:pt x="21026" y="2924"/>
                  </a:lnTo>
                  <a:lnTo>
                    <a:pt x="21094" y="3032"/>
                  </a:lnTo>
                  <a:lnTo>
                    <a:pt x="21270" y="3145"/>
                  </a:lnTo>
                  <a:lnTo>
                    <a:pt x="21423" y="3219"/>
                  </a:lnTo>
                  <a:lnTo>
                    <a:pt x="21566" y="3127"/>
                  </a:lnTo>
                  <a:lnTo>
                    <a:pt x="21600" y="3078"/>
                  </a:lnTo>
                  <a:lnTo>
                    <a:pt x="21527" y="3010"/>
                  </a:lnTo>
                  <a:lnTo>
                    <a:pt x="21426" y="2891"/>
                  </a:lnTo>
                  <a:lnTo>
                    <a:pt x="21301" y="2737"/>
                  </a:lnTo>
                  <a:lnTo>
                    <a:pt x="21190" y="2630"/>
                  </a:lnTo>
                  <a:lnTo>
                    <a:pt x="21119" y="2630"/>
                  </a:lnTo>
                  <a:lnTo>
                    <a:pt x="21030" y="2636"/>
                  </a:lnTo>
                  <a:lnTo>
                    <a:pt x="20974" y="2686"/>
                  </a:lnTo>
                  <a:lnTo>
                    <a:pt x="20878" y="2770"/>
                  </a:lnTo>
                  <a:lnTo>
                    <a:pt x="20770" y="2686"/>
                  </a:lnTo>
                  <a:lnTo>
                    <a:pt x="20722" y="2588"/>
                  </a:lnTo>
                  <a:lnTo>
                    <a:pt x="20543" y="2472"/>
                  </a:lnTo>
                  <a:lnTo>
                    <a:pt x="20456" y="2425"/>
                  </a:lnTo>
                  <a:lnTo>
                    <a:pt x="20307" y="2425"/>
                  </a:lnTo>
                  <a:lnTo>
                    <a:pt x="20202" y="2382"/>
                  </a:lnTo>
                  <a:lnTo>
                    <a:pt x="20089" y="2339"/>
                  </a:lnTo>
                  <a:lnTo>
                    <a:pt x="19926" y="2311"/>
                  </a:lnTo>
                  <a:lnTo>
                    <a:pt x="19800" y="2213"/>
                  </a:lnTo>
                  <a:lnTo>
                    <a:pt x="19643" y="2083"/>
                  </a:lnTo>
                  <a:lnTo>
                    <a:pt x="19551" y="2052"/>
                  </a:lnTo>
                  <a:lnTo>
                    <a:pt x="19315" y="2034"/>
                  </a:lnTo>
                  <a:lnTo>
                    <a:pt x="19215" y="1997"/>
                  </a:lnTo>
                  <a:lnTo>
                    <a:pt x="19122" y="1921"/>
                  </a:lnTo>
                  <a:lnTo>
                    <a:pt x="18920" y="1933"/>
                  </a:lnTo>
                  <a:lnTo>
                    <a:pt x="18735" y="1921"/>
                  </a:lnTo>
                  <a:lnTo>
                    <a:pt x="18590" y="1909"/>
                  </a:lnTo>
                  <a:lnTo>
                    <a:pt x="18496" y="1822"/>
                  </a:lnTo>
                  <a:lnTo>
                    <a:pt x="18364" y="1797"/>
                  </a:lnTo>
                  <a:lnTo>
                    <a:pt x="18239" y="1810"/>
                  </a:lnTo>
                  <a:lnTo>
                    <a:pt x="18137" y="1829"/>
                  </a:lnTo>
                  <a:lnTo>
                    <a:pt x="18157" y="1902"/>
                  </a:lnTo>
                  <a:lnTo>
                    <a:pt x="18248" y="1991"/>
                  </a:lnTo>
                  <a:lnTo>
                    <a:pt x="18296" y="2120"/>
                  </a:lnTo>
                  <a:lnTo>
                    <a:pt x="18233" y="2151"/>
                  </a:lnTo>
                  <a:lnTo>
                    <a:pt x="18148" y="2110"/>
                  </a:lnTo>
                  <a:lnTo>
                    <a:pt x="18025" y="2036"/>
                  </a:lnTo>
                  <a:lnTo>
                    <a:pt x="17903" y="1987"/>
                  </a:lnTo>
                  <a:lnTo>
                    <a:pt x="17710" y="1891"/>
                  </a:lnTo>
                  <a:lnTo>
                    <a:pt x="17551" y="1878"/>
                  </a:lnTo>
                  <a:lnTo>
                    <a:pt x="17370" y="1915"/>
                  </a:lnTo>
                  <a:lnTo>
                    <a:pt x="17038" y="1989"/>
                  </a:lnTo>
                  <a:lnTo>
                    <a:pt x="16827" y="1926"/>
                  </a:lnTo>
                  <a:lnTo>
                    <a:pt x="16722" y="1858"/>
                  </a:lnTo>
                  <a:lnTo>
                    <a:pt x="16565" y="1799"/>
                  </a:lnTo>
                  <a:lnTo>
                    <a:pt x="16503" y="1709"/>
                  </a:lnTo>
                  <a:lnTo>
                    <a:pt x="16417" y="1665"/>
                  </a:lnTo>
                  <a:lnTo>
                    <a:pt x="16350" y="1665"/>
                  </a:lnTo>
                  <a:lnTo>
                    <a:pt x="16180" y="1702"/>
                  </a:lnTo>
                  <a:lnTo>
                    <a:pt x="15880" y="1706"/>
                  </a:lnTo>
                  <a:lnTo>
                    <a:pt x="15742" y="1620"/>
                  </a:lnTo>
                  <a:lnTo>
                    <a:pt x="15543" y="1620"/>
                  </a:lnTo>
                  <a:lnTo>
                    <a:pt x="15307" y="1595"/>
                  </a:lnTo>
                  <a:lnTo>
                    <a:pt x="15157" y="1620"/>
                  </a:lnTo>
                  <a:lnTo>
                    <a:pt x="15047" y="1501"/>
                  </a:lnTo>
                  <a:lnTo>
                    <a:pt x="14881" y="1420"/>
                  </a:lnTo>
                  <a:lnTo>
                    <a:pt x="14763" y="1303"/>
                  </a:lnTo>
                  <a:lnTo>
                    <a:pt x="14679" y="1266"/>
                  </a:lnTo>
                  <a:lnTo>
                    <a:pt x="14635" y="1352"/>
                  </a:lnTo>
                  <a:lnTo>
                    <a:pt x="14550" y="1352"/>
                  </a:lnTo>
                  <a:lnTo>
                    <a:pt x="14462" y="1297"/>
                  </a:lnTo>
                  <a:lnTo>
                    <a:pt x="14166" y="1211"/>
                  </a:lnTo>
                  <a:lnTo>
                    <a:pt x="14073" y="1169"/>
                  </a:lnTo>
                  <a:lnTo>
                    <a:pt x="13945" y="1162"/>
                  </a:lnTo>
                  <a:lnTo>
                    <a:pt x="13813" y="1181"/>
                  </a:lnTo>
                  <a:lnTo>
                    <a:pt x="13627" y="1224"/>
                  </a:lnTo>
                  <a:lnTo>
                    <a:pt x="13667" y="1317"/>
                  </a:lnTo>
                  <a:lnTo>
                    <a:pt x="13749" y="1403"/>
                  </a:lnTo>
                  <a:lnTo>
                    <a:pt x="13692" y="1507"/>
                  </a:lnTo>
                  <a:lnTo>
                    <a:pt x="13597" y="1536"/>
                  </a:lnTo>
                  <a:lnTo>
                    <a:pt x="13538" y="1628"/>
                  </a:lnTo>
                  <a:lnTo>
                    <a:pt x="13428" y="1659"/>
                  </a:lnTo>
                  <a:lnTo>
                    <a:pt x="13358" y="1560"/>
                  </a:lnTo>
                  <a:lnTo>
                    <a:pt x="13216" y="1548"/>
                  </a:lnTo>
                  <a:lnTo>
                    <a:pt x="13131" y="1566"/>
                  </a:lnTo>
                  <a:lnTo>
                    <a:pt x="13104" y="1505"/>
                  </a:lnTo>
                  <a:lnTo>
                    <a:pt x="12982" y="1530"/>
                  </a:lnTo>
                  <a:lnTo>
                    <a:pt x="12917" y="1609"/>
                  </a:lnTo>
                  <a:lnTo>
                    <a:pt x="12808" y="1661"/>
                  </a:lnTo>
                  <a:lnTo>
                    <a:pt x="12730" y="1716"/>
                  </a:lnTo>
                  <a:lnTo>
                    <a:pt x="12648" y="1673"/>
                  </a:lnTo>
                  <a:lnTo>
                    <a:pt x="12554" y="1612"/>
                  </a:lnTo>
                  <a:lnTo>
                    <a:pt x="12432" y="1501"/>
                  </a:lnTo>
                  <a:lnTo>
                    <a:pt x="12362" y="1435"/>
                  </a:lnTo>
                  <a:lnTo>
                    <a:pt x="12252" y="1303"/>
                  </a:lnTo>
                  <a:lnTo>
                    <a:pt x="12198" y="1196"/>
                  </a:lnTo>
                  <a:lnTo>
                    <a:pt x="12065" y="1147"/>
                  </a:lnTo>
                  <a:lnTo>
                    <a:pt x="11907" y="1091"/>
                  </a:lnTo>
                  <a:lnTo>
                    <a:pt x="11807" y="1027"/>
                  </a:lnTo>
                  <a:lnTo>
                    <a:pt x="11650" y="1040"/>
                  </a:lnTo>
                  <a:lnTo>
                    <a:pt x="11476" y="1046"/>
                  </a:lnTo>
                  <a:lnTo>
                    <a:pt x="11319" y="1107"/>
                  </a:lnTo>
                  <a:lnTo>
                    <a:pt x="11161" y="1175"/>
                  </a:lnTo>
                  <a:lnTo>
                    <a:pt x="11102" y="1212"/>
                  </a:lnTo>
                  <a:lnTo>
                    <a:pt x="10997" y="1157"/>
                  </a:lnTo>
                  <a:lnTo>
                    <a:pt x="10925" y="1085"/>
                  </a:lnTo>
                  <a:lnTo>
                    <a:pt x="10818" y="1062"/>
                  </a:lnTo>
                  <a:lnTo>
                    <a:pt x="10706" y="1005"/>
                  </a:lnTo>
                  <a:lnTo>
                    <a:pt x="10635" y="986"/>
                  </a:lnTo>
                  <a:lnTo>
                    <a:pt x="10534" y="1017"/>
                  </a:lnTo>
                  <a:lnTo>
                    <a:pt x="10460" y="1067"/>
                  </a:lnTo>
                  <a:lnTo>
                    <a:pt x="10390" y="1116"/>
                  </a:lnTo>
                  <a:lnTo>
                    <a:pt x="10258" y="1109"/>
                  </a:lnTo>
                  <a:lnTo>
                    <a:pt x="10185" y="1048"/>
                  </a:lnTo>
                  <a:lnTo>
                    <a:pt x="10067" y="999"/>
                  </a:lnTo>
                  <a:lnTo>
                    <a:pt x="10001" y="925"/>
                  </a:lnTo>
                  <a:lnTo>
                    <a:pt x="9915" y="908"/>
                  </a:lnTo>
                  <a:lnTo>
                    <a:pt x="9859" y="933"/>
                  </a:lnTo>
                  <a:lnTo>
                    <a:pt x="9750" y="999"/>
                  </a:lnTo>
                  <a:lnTo>
                    <a:pt x="9570" y="1077"/>
                  </a:lnTo>
                  <a:lnTo>
                    <a:pt x="9446" y="1137"/>
                  </a:lnTo>
                  <a:lnTo>
                    <a:pt x="9279" y="1137"/>
                  </a:lnTo>
                  <a:lnTo>
                    <a:pt x="9295" y="1014"/>
                  </a:lnTo>
                  <a:lnTo>
                    <a:pt x="9310" y="961"/>
                  </a:lnTo>
                  <a:lnTo>
                    <a:pt x="9378" y="871"/>
                  </a:lnTo>
                  <a:lnTo>
                    <a:pt x="9505" y="792"/>
                  </a:lnTo>
                  <a:lnTo>
                    <a:pt x="9585" y="731"/>
                  </a:lnTo>
                  <a:lnTo>
                    <a:pt x="9656" y="672"/>
                  </a:lnTo>
                  <a:lnTo>
                    <a:pt x="9727" y="607"/>
                  </a:lnTo>
                  <a:lnTo>
                    <a:pt x="9742" y="445"/>
                  </a:lnTo>
                  <a:lnTo>
                    <a:pt x="9582" y="412"/>
                  </a:lnTo>
                  <a:cubicBezTo>
                    <a:pt x="9560" y="371"/>
                    <a:pt x="9533" y="339"/>
                    <a:pt x="9502" y="316"/>
                  </a:cubicBezTo>
                  <a:cubicBezTo>
                    <a:pt x="9454" y="281"/>
                    <a:pt x="9400" y="272"/>
                    <a:pt x="9348" y="291"/>
                  </a:cubicBezTo>
                  <a:lnTo>
                    <a:pt x="9271" y="259"/>
                  </a:lnTo>
                  <a:lnTo>
                    <a:pt x="9024" y="240"/>
                  </a:lnTo>
                  <a:lnTo>
                    <a:pt x="8961" y="296"/>
                  </a:lnTo>
                  <a:lnTo>
                    <a:pt x="8878" y="321"/>
                  </a:lnTo>
                  <a:lnTo>
                    <a:pt x="8778" y="327"/>
                  </a:lnTo>
                  <a:lnTo>
                    <a:pt x="8669" y="321"/>
                  </a:lnTo>
                  <a:lnTo>
                    <a:pt x="8552" y="169"/>
                  </a:lnTo>
                  <a:lnTo>
                    <a:pt x="8382" y="61"/>
                  </a:lnTo>
                  <a:lnTo>
                    <a:pt x="8181" y="0"/>
                  </a:lnTo>
                  <a:lnTo>
                    <a:pt x="8118" y="111"/>
                  </a:lnTo>
                  <a:cubicBezTo>
                    <a:pt x="8095" y="146"/>
                    <a:pt x="8072" y="181"/>
                    <a:pt x="8049" y="216"/>
                  </a:cubicBezTo>
                  <a:cubicBezTo>
                    <a:pt x="8019" y="259"/>
                    <a:pt x="7990" y="302"/>
                    <a:pt x="7960" y="345"/>
                  </a:cubicBezTo>
                  <a:lnTo>
                    <a:pt x="7855" y="476"/>
                  </a:lnTo>
                  <a:lnTo>
                    <a:pt x="7722" y="482"/>
                  </a:lnTo>
                  <a:lnTo>
                    <a:pt x="7658" y="400"/>
                  </a:lnTo>
                  <a:lnTo>
                    <a:pt x="7484" y="373"/>
                  </a:lnTo>
                  <a:lnTo>
                    <a:pt x="7361" y="362"/>
                  </a:lnTo>
                  <a:lnTo>
                    <a:pt x="7275" y="430"/>
                  </a:lnTo>
                  <a:lnTo>
                    <a:pt x="7161" y="486"/>
                  </a:lnTo>
                  <a:lnTo>
                    <a:pt x="7012" y="523"/>
                  </a:lnTo>
                  <a:lnTo>
                    <a:pt x="6838" y="560"/>
                  </a:lnTo>
                  <a:lnTo>
                    <a:pt x="6726" y="578"/>
                  </a:lnTo>
                  <a:lnTo>
                    <a:pt x="6715" y="666"/>
                  </a:lnTo>
                  <a:lnTo>
                    <a:pt x="6751" y="734"/>
                  </a:lnTo>
                  <a:lnTo>
                    <a:pt x="6843" y="832"/>
                  </a:lnTo>
                  <a:lnTo>
                    <a:pt x="6786" y="906"/>
                  </a:lnTo>
                  <a:lnTo>
                    <a:pt x="6718" y="930"/>
                  </a:lnTo>
                  <a:lnTo>
                    <a:pt x="6637" y="973"/>
                  </a:lnTo>
                  <a:lnTo>
                    <a:pt x="6556" y="924"/>
                  </a:lnTo>
                  <a:lnTo>
                    <a:pt x="6471" y="887"/>
                  </a:lnTo>
                  <a:lnTo>
                    <a:pt x="6350" y="943"/>
                  </a:lnTo>
                  <a:lnTo>
                    <a:pt x="6279" y="996"/>
                  </a:lnTo>
                  <a:lnTo>
                    <a:pt x="6206" y="1051"/>
                  </a:lnTo>
                  <a:lnTo>
                    <a:pt x="6149" y="1132"/>
                  </a:lnTo>
                  <a:lnTo>
                    <a:pt x="6064" y="1205"/>
                  </a:lnTo>
                  <a:lnTo>
                    <a:pt x="5960" y="1295"/>
                  </a:lnTo>
                  <a:lnTo>
                    <a:pt x="5892" y="1351"/>
                  </a:lnTo>
                  <a:lnTo>
                    <a:pt x="5816" y="1400"/>
                  </a:lnTo>
                  <a:lnTo>
                    <a:pt x="5722" y="1449"/>
                  </a:lnTo>
                  <a:lnTo>
                    <a:pt x="5637" y="1449"/>
                  </a:lnTo>
                  <a:lnTo>
                    <a:pt x="5595" y="1413"/>
                  </a:lnTo>
                  <a:lnTo>
                    <a:pt x="5495" y="1413"/>
                  </a:lnTo>
                  <a:lnTo>
                    <a:pt x="5468" y="1536"/>
                  </a:lnTo>
                  <a:lnTo>
                    <a:pt x="5511" y="1683"/>
                  </a:lnTo>
                  <a:lnTo>
                    <a:pt x="5628" y="1858"/>
                  </a:lnTo>
                  <a:lnTo>
                    <a:pt x="5664" y="1907"/>
                  </a:lnTo>
                  <a:lnTo>
                    <a:pt x="5767" y="1929"/>
                  </a:lnTo>
                  <a:lnTo>
                    <a:pt x="5876" y="2075"/>
                  </a:lnTo>
                  <a:lnTo>
                    <a:pt x="5864" y="2215"/>
                  </a:lnTo>
                  <a:lnTo>
                    <a:pt x="5905" y="2289"/>
                  </a:lnTo>
                  <a:lnTo>
                    <a:pt x="5866" y="2477"/>
                  </a:lnTo>
                  <a:lnTo>
                    <a:pt x="5797" y="2656"/>
                  </a:lnTo>
                  <a:lnTo>
                    <a:pt x="5709" y="2755"/>
                  </a:lnTo>
                  <a:lnTo>
                    <a:pt x="5587" y="2810"/>
                  </a:lnTo>
                  <a:lnTo>
                    <a:pt x="5482" y="2822"/>
                  </a:lnTo>
                  <a:cubicBezTo>
                    <a:pt x="5453" y="2798"/>
                    <a:pt x="5444" y="2741"/>
                    <a:pt x="5463" y="2699"/>
                  </a:cubicBezTo>
                  <a:cubicBezTo>
                    <a:pt x="5481" y="2659"/>
                    <a:pt x="5516" y="2653"/>
                    <a:pt x="5544" y="2631"/>
                  </a:cubicBezTo>
                  <a:cubicBezTo>
                    <a:pt x="5592" y="2593"/>
                    <a:pt x="5617" y="2510"/>
                    <a:pt x="5603" y="2430"/>
                  </a:cubicBezTo>
                  <a:lnTo>
                    <a:pt x="5557" y="2208"/>
                  </a:lnTo>
                  <a:lnTo>
                    <a:pt x="5456" y="2066"/>
                  </a:lnTo>
                  <a:lnTo>
                    <a:pt x="5369" y="1842"/>
                  </a:lnTo>
                  <a:lnTo>
                    <a:pt x="5304" y="1651"/>
                  </a:lnTo>
                  <a:lnTo>
                    <a:pt x="5239" y="1515"/>
                  </a:lnTo>
                  <a:lnTo>
                    <a:pt x="5182" y="1355"/>
                  </a:lnTo>
                  <a:lnTo>
                    <a:pt x="5074" y="1252"/>
                  </a:lnTo>
                  <a:lnTo>
                    <a:pt x="4913" y="1178"/>
                  </a:lnTo>
                  <a:lnTo>
                    <a:pt x="4747" y="1246"/>
                  </a:lnTo>
                  <a:lnTo>
                    <a:pt x="4613" y="1388"/>
                  </a:lnTo>
                  <a:lnTo>
                    <a:pt x="4609" y="1523"/>
                  </a:lnTo>
                  <a:lnTo>
                    <a:pt x="4654" y="1702"/>
                  </a:lnTo>
                  <a:lnTo>
                    <a:pt x="4727" y="1825"/>
                  </a:lnTo>
                  <a:lnTo>
                    <a:pt x="4848" y="1874"/>
                  </a:lnTo>
                  <a:lnTo>
                    <a:pt x="4946" y="1942"/>
                  </a:lnTo>
                  <a:lnTo>
                    <a:pt x="5024" y="2032"/>
                  </a:lnTo>
                  <a:lnTo>
                    <a:pt x="5089" y="2143"/>
                  </a:lnTo>
                  <a:lnTo>
                    <a:pt x="5077" y="2241"/>
                  </a:lnTo>
                  <a:lnTo>
                    <a:pt x="4981" y="2276"/>
                  </a:lnTo>
                  <a:lnTo>
                    <a:pt x="4947" y="2348"/>
                  </a:lnTo>
                  <a:lnTo>
                    <a:pt x="4872" y="2286"/>
                  </a:lnTo>
                  <a:lnTo>
                    <a:pt x="4788" y="2194"/>
                  </a:lnTo>
                  <a:lnTo>
                    <a:pt x="4710" y="2163"/>
                  </a:lnTo>
                  <a:lnTo>
                    <a:pt x="4603" y="2151"/>
                  </a:lnTo>
                  <a:lnTo>
                    <a:pt x="4678" y="2284"/>
                  </a:lnTo>
                  <a:lnTo>
                    <a:pt x="4754" y="2363"/>
                  </a:lnTo>
                  <a:lnTo>
                    <a:pt x="4735" y="2522"/>
                  </a:lnTo>
                  <a:lnTo>
                    <a:pt x="4571" y="2643"/>
                  </a:lnTo>
                  <a:lnTo>
                    <a:pt x="4490" y="2738"/>
                  </a:lnTo>
                  <a:lnTo>
                    <a:pt x="4323" y="2820"/>
                  </a:lnTo>
                  <a:lnTo>
                    <a:pt x="4189" y="2900"/>
                  </a:lnTo>
                  <a:lnTo>
                    <a:pt x="4168" y="3010"/>
                  </a:lnTo>
                  <a:lnTo>
                    <a:pt x="4176" y="3166"/>
                  </a:lnTo>
                  <a:lnTo>
                    <a:pt x="4263" y="3589"/>
                  </a:lnTo>
                  <a:lnTo>
                    <a:pt x="4302" y="3809"/>
                  </a:lnTo>
                  <a:lnTo>
                    <a:pt x="4391" y="3967"/>
                  </a:lnTo>
                  <a:lnTo>
                    <a:pt x="4410" y="4139"/>
                  </a:lnTo>
                  <a:lnTo>
                    <a:pt x="4418" y="4379"/>
                  </a:lnTo>
                  <a:lnTo>
                    <a:pt x="4441" y="4560"/>
                  </a:lnTo>
                  <a:lnTo>
                    <a:pt x="4437" y="4864"/>
                  </a:lnTo>
                  <a:lnTo>
                    <a:pt x="4527" y="4941"/>
                  </a:lnTo>
                  <a:lnTo>
                    <a:pt x="4567" y="5097"/>
                  </a:lnTo>
                  <a:lnTo>
                    <a:pt x="4635" y="5183"/>
                  </a:lnTo>
                  <a:lnTo>
                    <a:pt x="4651" y="5256"/>
                  </a:lnTo>
                  <a:lnTo>
                    <a:pt x="4626" y="5367"/>
                  </a:lnTo>
                  <a:lnTo>
                    <a:pt x="4576" y="5443"/>
                  </a:lnTo>
                  <a:lnTo>
                    <a:pt x="4445" y="5463"/>
                  </a:lnTo>
                  <a:lnTo>
                    <a:pt x="4316" y="5596"/>
                  </a:lnTo>
                  <a:lnTo>
                    <a:pt x="4406" y="5724"/>
                  </a:lnTo>
                  <a:lnTo>
                    <a:pt x="4387" y="5836"/>
                  </a:lnTo>
                  <a:lnTo>
                    <a:pt x="4594" y="6114"/>
                  </a:lnTo>
                  <a:lnTo>
                    <a:pt x="4754" y="6030"/>
                  </a:lnTo>
                  <a:lnTo>
                    <a:pt x="4789" y="5840"/>
                  </a:lnTo>
                  <a:lnTo>
                    <a:pt x="4841" y="5803"/>
                  </a:lnTo>
                  <a:lnTo>
                    <a:pt x="4948" y="5879"/>
                  </a:lnTo>
                  <a:lnTo>
                    <a:pt x="5006" y="6012"/>
                  </a:lnTo>
                  <a:lnTo>
                    <a:pt x="4972" y="6178"/>
                  </a:lnTo>
                  <a:lnTo>
                    <a:pt x="4922" y="6262"/>
                  </a:lnTo>
                  <a:lnTo>
                    <a:pt x="4935" y="6389"/>
                  </a:lnTo>
                  <a:lnTo>
                    <a:pt x="4975" y="6457"/>
                  </a:lnTo>
                  <a:lnTo>
                    <a:pt x="4930" y="6525"/>
                  </a:lnTo>
                  <a:lnTo>
                    <a:pt x="4941" y="6684"/>
                  </a:lnTo>
                  <a:lnTo>
                    <a:pt x="4896" y="6822"/>
                  </a:lnTo>
                  <a:lnTo>
                    <a:pt x="4856" y="6858"/>
                  </a:lnTo>
                  <a:lnTo>
                    <a:pt x="4492" y="6703"/>
                  </a:lnTo>
                  <a:lnTo>
                    <a:pt x="4399" y="6602"/>
                  </a:lnTo>
                  <a:lnTo>
                    <a:pt x="4252" y="6584"/>
                  </a:lnTo>
                  <a:lnTo>
                    <a:pt x="4068" y="6730"/>
                  </a:lnTo>
                  <a:lnTo>
                    <a:pt x="3743" y="6603"/>
                  </a:lnTo>
                  <a:lnTo>
                    <a:pt x="3618" y="6656"/>
                  </a:lnTo>
                  <a:lnTo>
                    <a:pt x="3600" y="6823"/>
                  </a:lnTo>
                  <a:lnTo>
                    <a:pt x="3636" y="7187"/>
                  </a:lnTo>
                  <a:lnTo>
                    <a:pt x="3748" y="7239"/>
                  </a:lnTo>
                  <a:lnTo>
                    <a:pt x="3825" y="7347"/>
                  </a:lnTo>
                  <a:lnTo>
                    <a:pt x="3825" y="7604"/>
                  </a:lnTo>
                  <a:lnTo>
                    <a:pt x="3887" y="7855"/>
                  </a:lnTo>
                  <a:lnTo>
                    <a:pt x="3979" y="8012"/>
                  </a:lnTo>
                  <a:lnTo>
                    <a:pt x="4086" y="8093"/>
                  </a:lnTo>
                  <a:lnTo>
                    <a:pt x="4220" y="8136"/>
                  </a:lnTo>
                  <a:lnTo>
                    <a:pt x="4293" y="8263"/>
                  </a:lnTo>
                  <a:lnTo>
                    <a:pt x="4293" y="8394"/>
                  </a:lnTo>
                  <a:lnTo>
                    <a:pt x="4366" y="8540"/>
                  </a:lnTo>
                  <a:lnTo>
                    <a:pt x="4383" y="8629"/>
                  </a:lnTo>
                  <a:lnTo>
                    <a:pt x="4299" y="8664"/>
                  </a:lnTo>
                  <a:lnTo>
                    <a:pt x="4172" y="8604"/>
                  </a:lnTo>
                  <a:lnTo>
                    <a:pt x="4026" y="8653"/>
                  </a:lnTo>
                  <a:lnTo>
                    <a:pt x="3937" y="8795"/>
                  </a:lnTo>
                  <a:lnTo>
                    <a:pt x="3868" y="9042"/>
                  </a:lnTo>
                  <a:lnTo>
                    <a:pt x="4014" y="9200"/>
                  </a:lnTo>
                  <a:lnTo>
                    <a:pt x="4153" y="9272"/>
                  </a:lnTo>
                  <a:lnTo>
                    <a:pt x="4317" y="9447"/>
                  </a:lnTo>
                  <a:lnTo>
                    <a:pt x="4379" y="9595"/>
                  </a:lnTo>
                  <a:lnTo>
                    <a:pt x="4500" y="9504"/>
                  </a:lnTo>
                  <a:lnTo>
                    <a:pt x="4590" y="9545"/>
                  </a:lnTo>
                  <a:lnTo>
                    <a:pt x="4620" y="9647"/>
                  </a:lnTo>
                  <a:lnTo>
                    <a:pt x="4729" y="9807"/>
                  </a:lnTo>
                  <a:lnTo>
                    <a:pt x="4703" y="9934"/>
                  </a:lnTo>
                  <a:lnTo>
                    <a:pt x="4589" y="10028"/>
                  </a:lnTo>
                  <a:lnTo>
                    <a:pt x="4485" y="9905"/>
                  </a:lnTo>
                  <a:lnTo>
                    <a:pt x="4398" y="9948"/>
                  </a:lnTo>
                  <a:lnTo>
                    <a:pt x="4460" y="10099"/>
                  </a:lnTo>
                  <a:lnTo>
                    <a:pt x="4558" y="10237"/>
                  </a:lnTo>
                  <a:lnTo>
                    <a:pt x="4639" y="10407"/>
                  </a:lnTo>
                  <a:lnTo>
                    <a:pt x="4716" y="10732"/>
                  </a:lnTo>
                  <a:lnTo>
                    <a:pt x="4705" y="10997"/>
                  </a:lnTo>
                  <a:lnTo>
                    <a:pt x="4587" y="11154"/>
                  </a:lnTo>
                  <a:lnTo>
                    <a:pt x="4430" y="11160"/>
                  </a:lnTo>
                  <a:lnTo>
                    <a:pt x="4375" y="11281"/>
                  </a:lnTo>
                  <a:lnTo>
                    <a:pt x="4289" y="11156"/>
                  </a:lnTo>
                  <a:cubicBezTo>
                    <a:pt x="4252" y="11136"/>
                    <a:pt x="4216" y="11114"/>
                    <a:pt x="4180" y="11088"/>
                  </a:cubicBezTo>
                  <a:cubicBezTo>
                    <a:pt x="4134" y="11055"/>
                    <a:pt x="4089" y="11017"/>
                    <a:pt x="4044" y="10979"/>
                  </a:cubicBezTo>
                  <a:cubicBezTo>
                    <a:pt x="3984" y="10930"/>
                    <a:pt x="3923" y="10882"/>
                    <a:pt x="3862" y="10835"/>
                  </a:cubicBezTo>
                  <a:lnTo>
                    <a:pt x="3803" y="10661"/>
                  </a:lnTo>
                  <a:lnTo>
                    <a:pt x="3784" y="10495"/>
                  </a:lnTo>
                  <a:lnTo>
                    <a:pt x="3841" y="10339"/>
                  </a:lnTo>
                  <a:lnTo>
                    <a:pt x="3888" y="10223"/>
                  </a:lnTo>
                  <a:close/>
                </a:path>
              </a:pathLst>
            </a:custGeom>
            <a:grpFill/>
            <a:ln w="25400" cap="flat">
              <a:noFill/>
              <a:prstDash val="solid"/>
              <a:miter lim="400000"/>
            </a:ln>
            <a:effectLst/>
          </p:spPr>
          <p:txBody>
            <a:bodyPr anchor="ctr"/>
            <a:lstStyle/>
            <a:p>
              <a:pPr algn="ctr"/>
              <a:endParaRPr/>
            </a:p>
          </p:txBody>
        </p:sp>
        <p:sp>
          <p:nvSpPr>
            <p:cNvPr id="84" name="ïş1îḓé">
              <a:extLst>
                <a:ext uri="{FF2B5EF4-FFF2-40B4-BE49-F238E27FC236}">
                  <a16:creationId xmlns:a16="http://schemas.microsoft.com/office/drawing/2014/main" id="{683649E8-92C6-4693-ABE1-ABBE0DB43E38}"/>
                </a:ext>
              </a:extLst>
            </p:cNvPr>
            <p:cNvSpPr/>
            <p:nvPr/>
          </p:nvSpPr>
          <p:spPr>
            <a:xfrm>
              <a:off x="7558388" y="1310558"/>
              <a:ext cx="328933" cy="89526"/>
            </a:xfrm>
            <a:custGeom>
              <a:avLst/>
              <a:gdLst/>
              <a:ahLst/>
              <a:cxnLst>
                <a:cxn ang="0">
                  <a:pos x="wd2" y="hd2"/>
                </a:cxn>
                <a:cxn ang="5400000">
                  <a:pos x="wd2" y="hd2"/>
                </a:cxn>
                <a:cxn ang="10800000">
                  <a:pos x="wd2" y="hd2"/>
                </a:cxn>
                <a:cxn ang="16200000">
                  <a:pos x="wd2" y="hd2"/>
                </a:cxn>
              </a:cxnLst>
              <a:rect l="0" t="0" r="r" b="b"/>
              <a:pathLst>
                <a:path w="21600" h="21600" extrusionOk="0">
                  <a:moveTo>
                    <a:pt x="7778" y="6595"/>
                  </a:moveTo>
                  <a:lnTo>
                    <a:pt x="10446" y="7621"/>
                  </a:lnTo>
                  <a:lnTo>
                    <a:pt x="11913" y="8186"/>
                  </a:lnTo>
                  <a:lnTo>
                    <a:pt x="12620" y="11749"/>
                  </a:lnTo>
                  <a:lnTo>
                    <a:pt x="14481" y="12643"/>
                  </a:lnTo>
                  <a:lnTo>
                    <a:pt x="16772" y="11668"/>
                  </a:lnTo>
                  <a:lnTo>
                    <a:pt x="18486" y="11668"/>
                  </a:lnTo>
                  <a:lnTo>
                    <a:pt x="20801" y="12156"/>
                  </a:lnTo>
                  <a:lnTo>
                    <a:pt x="21600" y="13283"/>
                  </a:lnTo>
                  <a:lnTo>
                    <a:pt x="19933" y="15944"/>
                  </a:lnTo>
                  <a:lnTo>
                    <a:pt x="17089" y="15944"/>
                  </a:lnTo>
                  <a:lnTo>
                    <a:pt x="16332" y="19345"/>
                  </a:lnTo>
                  <a:lnTo>
                    <a:pt x="16001" y="21600"/>
                  </a:lnTo>
                  <a:lnTo>
                    <a:pt x="14718" y="20625"/>
                  </a:lnTo>
                  <a:lnTo>
                    <a:pt x="14985" y="16005"/>
                  </a:lnTo>
                  <a:lnTo>
                    <a:pt x="13115" y="14553"/>
                  </a:lnTo>
                  <a:lnTo>
                    <a:pt x="9998" y="14309"/>
                  </a:lnTo>
                  <a:lnTo>
                    <a:pt x="8554" y="13334"/>
                  </a:lnTo>
                  <a:lnTo>
                    <a:pt x="6375" y="9273"/>
                  </a:lnTo>
                  <a:lnTo>
                    <a:pt x="4455" y="10004"/>
                  </a:lnTo>
                  <a:lnTo>
                    <a:pt x="647" y="10490"/>
                  </a:lnTo>
                  <a:lnTo>
                    <a:pt x="0" y="7648"/>
                  </a:lnTo>
                  <a:lnTo>
                    <a:pt x="1373" y="1494"/>
                  </a:lnTo>
                  <a:lnTo>
                    <a:pt x="2843" y="0"/>
                  </a:lnTo>
                  <a:lnTo>
                    <a:pt x="5108" y="1491"/>
                  </a:lnTo>
                  <a:lnTo>
                    <a:pt x="5617" y="3189"/>
                  </a:lnTo>
                  <a:lnTo>
                    <a:pt x="6572" y="5128"/>
                  </a:lnTo>
                  <a:lnTo>
                    <a:pt x="7778" y="6595"/>
                  </a:lnTo>
                  <a:close/>
                </a:path>
              </a:pathLst>
            </a:custGeom>
            <a:grpFill/>
            <a:ln w="25400" cap="flat">
              <a:noFill/>
              <a:prstDash val="solid"/>
              <a:miter lim="400000"/>
            </a:ln>
            <a:effectLst/>
          </p:spPr>
          <p:txBody>
            <a:bodyPr anchor="ctr"/>
            <a:lstStyle/>
            <a:p>
              <a:pPr algn="ctr"/>
              <a:endParaRPr/>
            </a:p>
          </p:txBody>
        </p:sp>
        <p:sp>
          <p:nvSpPr>
            <p:cNvPr id="85" name="iṣļiďé">
              <a:extLst>
                <a:ext uri="{FF2B5EF4-FFF2-40B4-BE49-F238E27FC236}">
                  <a16:creationId xmlns:a16="http://schemas.microsoft.com/office/drawing/2014/main" id="{9907BBE4-E083-4BA0-ABC6-1E01554069D2}"/>
                </a:ext>
              </a:extLst>
            </p:cNvPr>
            <p:cNvSpPr/>
            <p:nvPr/>
          </p:nvSpPr>
          <p:spPr>
            <a:xfrm>
              <a:off x="9628653" y="2148074"/>
              <a:ext cx="217835" cy="255740"/>
            </a:xfrm>
            <a:custGeom>
              <a:avLst/>
              <a:gdLst/>
              <a:ahLst/>
              <a:cxnLst>
                <a:cxn ang="0">
                  <a:pos x="wd2" y="hd2"/>
                </a:cxn>
                <a:cxn ang="5400000">
                  <a:pos x="wd2" y="hd2"/>
                </a:cxn>
                <a:cxn ang="10800000">
                  <a:pos x="wd2" y="hd2"/>
                </a:cxn>
                <a:cxn ang="16200000">
                  <a:pos x="wd2" y="hd2"/>
                </a:cxn>
              </a:cxnLst>
              <a:rect l="0" t="0" r="r" b="b"/>
              <a:pathLst>
                <a:path w="21600" h="21600" extrusionOk="0">
                  <a:moveTo>
                    <a:pt x="918" y="306"/>
                  </a:moveTo>
                  <a:lnTo>
                    <a:pt x="2649" y="0"/>
                  </a:lnTo>
                  <a:lnTo>
                    <a:pt x="4359" y="1473"/>
                  </a:lnTo>
                  <a:lnTo>
                    <a:pt x="4763" y="2920"/>
                  </a:lnTo>
                  <a:lnTo>
                    <a:pt x="5532" y="4452"/>
                  </a:lnTo>
                  <a:lnTo>
                    <a:pt x="7347" y="6386"/>
                  </a:lnTo>
                  <a:lnTo>
                    <a:pt x="9263" y="7065"/>
                  </a:lnTo>
                  <a:lnTo>
                    <a:pt x="12200" y="8654"/>
                  </a:lnTo>
                  <a:lnTo>
                    <a:pt x="15159" y="10100"/>
                  </a:lnTo>
                  <a:lnTo>
                    <a:pt x="16566" y="11032"/>
                  </a:lnTo>
                  <a:lnTo>
                    <a:pt x="17268" y="12134"/>
                  </a:lnTo>
                  <a:lnTo>
                    <a:pt x="17470" y="13346"/>
                  </a:lnTo>
                  <a:lnTo>
                    <a:pt x="16028" y="13005"/>
                  </a:lnTo>
                  <a:lnTo>
                    <a:pt x="14423" y="13403"/>
                  </a:lnTo>
                  <a:lnTo>
                    <a:pt x="14629" y="14594"/>
                  </a:lnTo>
                  <a:lnTo>
                    <a:pt x="16612" y="15959"/>
                  </a:lnTo>
                  <a:lnTo>
                    <a:pt x="18226" y="17825"/>
                  </a:lnTo>
                  <a:lnTo>
                    <a:pt x="20991" y="20121"/>
                  </a:lnTo>
                  <a:lnTo>
                    <a:pt x="21600" y="21600"/>
                  </a:lnTo>
                  <a:lnTo>
                    <a:pt x="18856" y="21600"/>
                  </a:lnTo>
                  <a:lnTo>
                    <a:pt x="16692" y="20075"/>
                  </a:lnTo>
                  <a:cubicBezTo>
                    <a:pt x="16027" y="19637"/>
                    <a:pt x="15479" y="19086"/>
                    <a:pt x="15082" y="18458"/>
                  </a:cubicBezTo>
                  <a:cubicBezTo>
                    <a:pt x="14796" y="18005"/>
                    <a:pt x="14594" y="17518"/>
                    <a:pt x="14481" y="17014"/>
                  </a:cubicBezTo>
                  <a:lnTo>
                    <a:pt x="13271" y="15138"/>
                  </a:lnTo>
                  <a:lnTo>
                    <a:pt x="12262" y="13005"/>
                  </a:lnTo>
                  <a:lnTo>
                    <a:pt x="10884" y="11071"/>
                  </a:lnTo>
                  <a:lnTo>
                    <a:pt x="9077" y="9201"/>
                  </a:lnTo>
                  <a:lnTo>
                    <a:pt x="7270" y="7413"/>
                  </a:lnTo>
                  <a:lnTo>
                    <a:pt x="5169" y="6059"/>
                  </a:lnTo>
                  <a:lnTo>
                    <a:pt x="4097" y="4751"/>
                  </a:lnTo>
                  <a:lnTo>
                    <a:pt x="2685" y="3332"/>
                  </a:lnTo>
                  <a:lnTo>
                    <a:pt x="0" y="1690"/>
                  </a:lnTo>
                  <a:lnTo>
                    <a:pt x="918" y="306"/>
                  </a:lnTo>
                  <a:close/>
                </a:path>
              </a:pathLst>
            </a:custGeom>
            <a:grpFill/>
            <a:ln w="25400" cap="flat">
              <a:noFill/>
              <a:prstDash val="solid"/>
              <a:miter lim="400000"/>
            </a:ln>
            <a:effectLst/>
          </p:spPr>
          <p:txBody>
            <a:bodyPr anchor="ctr"/>
            <a:lstStyle/>
            <a:p>
              <a:pPr algn="ctr"/>
              <a:endParaRPr/>
            </a:p>
          </p:txBody>
        </p:sp>
        <p:sp>
          <p:nvSpPr>
            <p:cNvPr id="86" name="íSḻíḓé">
              <a:extLst>
                <a:ext uri="{FF2B5EF4-FFF2-40B4-BE49-F238E27FC236}">
                  <a16:creationId xmlns:a16="http://schemas.microsoft.com/office/drawing/2014/main" id="{0CBF2A49-2C1F-48B1-A3CB-358BF0E72CDF}"/>
                </a:ext>
              </a:extLst>
            </p:cNvPr>
            <p:cNvSpPr/>
            <p:nvPr/>
          </p:nvSpPr>
          <p:spPr>
            <a:xfrm>
              <a:off x="9834882" y="2436351"/>
              <a:ext cx="152671" cy="145223"/>
            </a:xfrm>
            <a:custGeom>
              <a:avLst/>
              <a:gdLst/>
              <a:ahLst/>
              <a:cxnLst>
                <a:cxn ang="0">
                  <a:pos x="wd2" y="hd2"/>
                </a:cxn>
                <a:cxn ang="5400000">
                  <a:pos x="wd2" y="hd2"/>
                </a:cxn>
                <a:cxn ang="10800000">
                  <a:pos x="wd2" y="hd2"/>
                </a:cxn>
                <a:cxn ang="16200000">
                  <a:pos x="wd2" y="hd2"/>
                </a:cxn>
              </a:cxnLst>
              <a:rect l="0" t="0" r="r" b="b"/>
              <a:pathLst>
                <a:path w="21600" h="21600" extrusionOk="0">
                  <a:moveTo>
                    <a:pt x="1216" y="0"/>
                  </a:moveTo>
                  <a:lnTo>
                    <a:pt x="3327" y="2686"/>
                  </a:lnTo>
                  <a:lnTo>
                    <a:pt x="5129" y="3465"/>
                  </a:lnTo>
                  <a:lnTo>
                    <a:pt x="5987" y="5412"/>
                  </a:lnTo>
                  <a:lnTo>
                    <a:pt x="8960" y="8066"/>
                  </a:lnTo>
                  <a:lnTo>
                    <a:pt x="13176" y="8066"/>
                  </a:lnTo>
                  <a:lnTo>
                    <a:pt x="16240" y="8060"/>
                  </a:lnTo>
                  <a:lnTo>
                    <a:pt x="20071" y="9506"/>
                  </a:lnTo>
                  <a:lnTo>
                    <a:pt x="21600" y="11754"/>
                  </a:lnTo>
                  <a:lnTo>
                    <a:pt x="18242" y="13299"/>
                  </a:lnTo>
                  <a:lnTo>
                    <a:pt x="16138" y="13894"/>
                  </a:lnTo>
                  <a:lnTo>
                    <a:pt x="16857" y="17337"/>
                  </a:lnTo>
                  <a:lnTo>
                    <a:pt x="14039" y="17181"/>
                  </a:lnTo>
                  <a:lnTo>
                    <a:pt x="12762" y="16136"/>
                  </a:lnTo>
                  <a:cubicBezTo>
                    <a:pt x="11828" y="15985"/>
                    <a:pt x="10901" y="15786"/>
                    <a:pt x="9986" y="15541"/>
                  </a:cubicBezTo>
                  <a:cubicBezTo>
                    <a:pt x="9104" y="15304"/>
                    <a:pt x="8234" y="15024"/>
                    <a:pt x="7377" y="14702"/>
                  </a:cubicBezTo>
                  <a:lnTo>
                    <a:pt x="5842" y="15002"/>
                  </a:lnTo>
                  <a:lnTo>
                    <a:pt x="5992" y="19096"/>
                  </a:lnTo>
                  <a:lnTo>
                    <a:pt x="4895" y="21600"/>
                  </a:lnTo>
                  <a:lnTo>
                    <a:pt x="2646" y="18495"/>
                  </a:lnTo>
                  <a:lnTo>
                    <a:pt x="2215" y="16698"/>
                  </a:lnTo>
                  <a:lnTo>
                    <a:pt x="499" y="14902"/>
                  </a:lnTo>
                  <a:lnTo>
                    <a:pt x="34" y="12773"/>
                  </a:lnTo>
                  <a:cubicBezTo>
                    <a:pt x="789" y="12296"/>
                    <a:pt x="1459" y="11687"/>
                    <a:pt x="2015" y="10971"/>
                  </a:cubicBezTo>
                  <a:cubicBezTo>
                    <a:pt x="2581" y="10241"/>
                    <a:pt x="3020" y="9412"/>
                    <a:pt x="3310" y="8523"/>
                  </a:cubicBezTo>
                  <a:lnTo>
                    <a:pt x="1535" y="5374"/>
                  </a:lnTo>
                  <a:lnTo>
                    <a:pt x="0" y="3428"/>
                  </a:lnTo>
                  <a:lnTo>
                    <a:pt x="1216" y="0"/>
                  </a:lnTo>
                  <a:close/>
                </a:path>
              </a:pathLst>
            </a:custGeom>
            <a:grpFill/>
            <a:ln w="25400" cap="flat">
              <a:noFill/>
              <a:prstDash val="solid"/>
              <a:miter lim="400000"/>
            </a:ln>
            <a:effectLst/>
          </p:spPr>
          <p:txBody>
            <a:bodyPr anchor="ctr"/>
            <a:lstStyle/>
            <a:p>
              <a:pPr algn="ctr"/>
              <a:endParaRPr/>
            </a:p>
          </p:txBody>
        </p:sp>
        <p:sp>
          <p:nvSpPr>
            <p:cNvPr id="87" name="iṥlîḋe">
              <a:extLst>
                <a:ext uri="{FF2B5EF4-FFF2-40B4-BE49-F238E27FC236}">
                  <a16:creationId xmlns:a16="http://schemas.microsoft.com/office/drawing/2014/main" id="{9B815E91-A71D-4B4B-B49E-7CEDADCF226A}"/>
                </a:ext>
              </a:extLst>
            </p:cNvPr>
            <p:cNvSpPr/>
            <p:nvPr/>
          </p:nvSpPr>
          <p:spPr>
            <a:xfrm>
              <a:off x="9716338" y="2591817"/>
              <a:ext cx="274646" cy="265853"/>
            </a:xfrm>
            <a:custGeom>
              <a:avLst/>
              <a:gdLst/>
              <a:ahLst/>
              <a:cxnLst>
                <a:cxn ang="0">
                  <a:pos x="wd2" y="hd2"/>
                </a:cxn>
                <a:cxn ang="5400000">
                  <a:pos x="wd2" y="hd2"/>
                </a:cxn>
                <a:cxn ang="10800000">
                  <a:pos x="wd2" y="hd2"/>
                </a:cxn>
                <a:cxn ang="16200000">
                  <a:pos x="wd2" y="hd2"/>
                </a:cxn>
              </a:cxnLst>
              <a:rect l="0" t="0" r="r" b="b"/>
              <a:pathLst>
                <a:path w="21600" h="21600" extrusionOk="0">
                  <a:moveTo>
                    <a:pt x="14831" y="0"/>
                  </a:moveTo>
                  <a:lnTo>
                    <a:pt x="16152" y="752"/>
                  </a:lnTo>
                  <a:lnTo>
                    <a:pt x="17169" y="1568"/>
                  </a:lnTo>
                  <a:lnTo>
                    <a:pt x="18839" y="1893"/>
                  </a:lnTo>
                  <a:lnTo>
                    <a:pt x="18839" y="3442"/>
                  </a:lnTo>
                  <a:lnTo>
                    <a:pt x="19262" y="4642"/>
                  </a:lnTo>
                  <a:lnTo>
                    <a:pt x="19979" y="5617"/>
                  </a:lnTo>
                  <a:lnTo>
                    <a:pt x="19182" y="6899"/>
                  </a:lnTo>
                  <a:lnTo>
                    <a:pt x="19182" y="8099"/>
                  </a:lnTo>
                  <a:lnTo>
                    <a:pt x="19662" y="9375"/>
                  </a:lnTo>
                  <a:lnTo>
                    <a:pt x="20216" y="10435"/>
                  </a:lnTo>
                  <a:lnTo>
                    <a:pt x="20594" y="11892"/>
                  </a:lnTo>
                  <a:lnTo>
                    <a:pt x="21520" y="13554"/>
                  </a:lnTo>
                  <a:lnTo>
                    <a:pt x="21600" y="15848"/>
                  </a:lnTo>
                  <a:lnTo>
                    <a:pt x="20167" y="17076"/>
                  </a:lnTo>
                  <a:lnTo>
                    <a:pt x="18837" y="17726"/>
                  </a:lnTo>
                  <a:lnTo>
                    <a:pt x="16684" y="18109"/>
                  </a:lnTo>
                  <a:lnTo>
                    <a:pt x="15274" y="18188"/>
                  </a:lnTo>
                  <a:lnTo>
                    <a:pt x="13867" y="18430"/>
                  </a:lnTo>
                  <a:lnTo>
                    <a:pt x="13462" y="19798"/>
                  </a:lnTo>
                  <a:lnTo>
                    <a:pt x="13164" y="20810"/>
                  </a:lnTo>
                  <a:lnTo>
                    <a:pt x="12474" y="21600"/>
                  </a:lnTo>
                  <a:lnTo>
                    <a:pt x="11162" y="19907"/>
                  </a:lnTo>
                  <a:lnTo>
                    <a:pt x="10416" y="19251"/>
                  </a:lnTo>
                  <a:lnTo>
                    <a:pt x="7383" y="19114"/>
                  </a:lnTo>
                  <a:lnTo>
                    <a:pt x="4329" y="19388"/>
                  </a:lnTo>
                  <a:lnTo>
                    <a:pt x="1907" y="20174"/>
                  </a:lnTo>
                  <a:lnTo>
                    <a:pt x="0" y="18923"/>
                  </a:lnTo>
                  <a:lnTo>
                    <a:pt x="1177" y="17804"/>
                  </a:lnTo>
                  <a:lnTo>
                    <a:pt x="2674" y="17668"/>
                  </a:lnTo>
                  <a:lnTo>
                    <a:pt x="3680" y="16334"/>
                  </a:lnTo>
                  <a:lnTo>
                    <a:pt x="4960" y="15541"/>
                  </a:lnTo>
                  <a:lnTo>
                    <a:pt x="6637" y="16033"/>
                  </a:lnTo>
                  <a:lnTo>
                    <a:pt x="8203" y="16279"/>
                  </a:lnTo>
                  <a:lnTo>
                    <a:pt x="9693" y="15161"/>
                  </a:lnTo>
                  <a:lnTo>
                    <a:pt x="10727" y="14180"/>
                  </a:lnTo>
                  <a:lnTo>
                    <a:pt x="13446" y="12244"/>
                  </a:lnTo>
                  <a:lnTo>
                    <a:pt x="14243" y="11348"/>
                  </a:lnTo>
                  <a:lnTo>
                    <a:pt x="16242" y="10719"/>
                  </a:lnTo>
                  <a:lnTo>
                    <a:pt x="16482" y="9003"/>
                  </a:lnTo>
                  <a:lnTo>
                    <a:pt x="16482" y="7470"/>
                  </a:lnTo>
                  <a:lnTo>
                    <a:pt x="14963" y="5446"/>
                  </a:lnTo>
                  <a:lnTo>
                    <a:pt x="14030" y="3313"/>
                  </a:lnTo>
                  <a:lnTo>
                    <a:pt x="13976" y="2082"/>
                  </a:lnTo>
                  <a:lnTo>
                    <a:pt x="13500" y="1100"/>
                  </a:lnTo>
                  <a:lnTo>
                    <a:pt x="14831" y="0"/>
                  </a:lnTo>
                  <a:close/>
                </a:path>
              </a:pathLst>
            </a:custGeom>
            <a:grpFill/>
            <a:ln w="25400" cap="flat">
              <a:noFill/>
              <a:prstDash val="solid"/>
              <a:miter lim="400000"/>
            </a:ln>
            <a:effectLst/>
          </p:spPr>
          <p:txBody>
            <a:bodyPr anchor="ctr"/>
            <a:lstStyle/>
            <a:p>
              <a:pPr algn="ctr"/>
              <a:endParaRPr/>
            </a:p>
          </p:txBody>
        </p:sp>
        <p:sp>
          <p:nvSpPr>
            <p:cNvPr id="88" name="ï$ļïdê">
              <a:extLst>
                <a:ext uri="{FF2B5EF4-FFF2-40B4-BE49-F238E27FC236}">
                  <a16:creationId xmlns:a16="http://schemas.microsoft.com/office/drawing/2014/main" id="{8AFCAA0E-B48A-4B65-8E05-0F931F871906}"/>
                </a:ext>
              </a:extLst>
            </p:cNvPr>
            <p:cNvSpPr/>
            <p:nvPr/>
          </p:nvSpPr>
          <p:spPr>
            <a:xfrm>
              <a:off x="9773896" y="2850018"/>
              <a:ext cx="47636" cy="42571"/>
            </a:xfrm>
            <a:custGeom>
              <a:avLst/>
              <a:gdLst/>
              <a:ahLst/>
              <a:cxnLst>
                <a:cxn ang="0">
                  <a:pos x="wd2" y="hd2"/>
                </a:cxn>
                <a:cxn ang="5400000">
                  <a:pos x="wd2" y="hd2"/>
                </a:cxn>
                <a:cxn ang="10800000">
                  <a:pos x="wd2" y="hd2"/>
                </a:cxn>
                <a:cxn ang="16200000">
                  <a:pos x="wd2" y="hd2"/>
                </a:cxn>
              </a:cxnLst>
              <a:rect l="0" t="0" r="r" b="b"/>
              <a:pathLst>
                <a:path w="21600" h="21600" extrusionOk="0">
                  <a:moveTo>
                    <a:pt x="15130" y="2820"/>
                  </a:moveTo>
                  <a:lnTo>
                    <a:pt x="3175" y="0"/>
                  </a:lnTo>
                  <a:lnTo>
                    <a:pt x="0" y="4621"/>
                  </a:lnTo>
                  <a:lnTo>
                    <a:pt x="4230" y="10217"/>
                  </a:lnTo>
                  <a:lnTo>
                    <a:pt x="4401" y="19722"/>
                  </a:lnTo>
                  <a:lnTo>
                    <a:pt x="14203" y="21600"/>
                  </a:lnTo>
                  <a:lnTo>
                    <a:pt x="18813" y="14767"/>
                  </a:lnTo>
                  <a:lnTo>
                    <a:pt x="21600" y="929"/>
                  </a:lnTo>
                  <a:lnTo>
                    <a:pt x="15130" y="2820"/>
                  </a:lnTo>
                  <a:close/>
                </a:path>
              </a:pathLst>
            </a:custGeom>
            <a:grpFill/>
            <a:ln w="25400" cap="flat">
              <a:noFill/>
              <a:prstDash val="solid"/>
              <a:miter lim="400000"/>
            </a:ln>
            <a:effectLst/>
          </p:spPr>
          <p:txBody>
            <a:bodyPr anchor="ctr"/>
            <a:lstStyle/>
            <a:p>
              <a:pPr algn="ctr"/>
              <a:endParaRPr/>
            </a:p>
          </p:txBody>
        </p:sp>
        <p:sp>
          <p:nvSpPr>
            <p:cNvPr id="89" name="íṡ1îde">
              <a:extLst>
                <a:ext uri="{FF2B5EF4-FFF2-40B4-BE49-F238E27FC236}">
                  <a16:creationId xmlns:a16="http://schemas.microsoft.com/office/drawing/2014/main" id="{2229569A-857D-4F9A-91C2-758F9FB47AC8}"/>
                </a:ext>
              </a:extLst>
            </p:cNvPr>
            <p:cNvSpPr/>
            <p:nvPr/>
          </p:nvSpPr>
          <p:spPr>
            <a:xfrm>
              <a:off x="9703522" y="2858648"/>
              <a:ext cx="58652" cy="83042"/>
            </a:xfrm>
            <a:custGeom>
              <a:avLst/>
              <a:gdLst/>
              <a:ahLst/>
              <a:cxnLst>
                <a:cxn ang="0">
                  <a:pos x="wd2" y="hd2"/>
                </a:cxn>
                <a:cxn ang="5400000">
                  <a:pos x="wd2" y="hd2"/>
                </a:cxn>
                <a:cxn ang="10800000">
                  <a:pos x="wd2" y="hd2"/>
                </a:cxn>
                <a:cxn ang="16200000">
                  <a:pos x="wd2" y="hd2"/>
                </a:cxn>
              </a:cxnLst>
              <a:rect l="0" t="0" r="r" b="b"/>
              <a:pathLst>
                <a:path w="21600" h="21600" extrusionOk="0">
                  <a:moveTo>
                    <a:pt x="5179" y="0"/>
                  </a:moveTo>
                  <a:lnTo>
                    <a:pt x="10237" y="2528"/>
                  </a:lnTo>
                  <a:lnTo>
                    <a:pt x="16136" y="4696"/>
                  </a:lnTo>
                  <a:lnTo>
                    <a:pt x="19977" y="6514"/>
                  </a:lnTo>
                  <a:lnTo>
                    <a:pt x="19602" y="11221"/>
                  </a:lnTo>
                  <a:lnTo>
                    <a:pt x="20976" y="14878"/>
                  </a:lnTo>
                  <a:lnTo>
                    <a:pt x="21600" y="19246"/>
                  </a:lnTo>
                  <a:lnTo>
                    <a:pt x="18618" y="21600"/>
                  </a:lnTo>
                  <a:lnTo>
                    <a:pt x="11299" y="20100"/>
                  </a:lnTo>
                  <a:lnTo>
                    <a:pt x="11672" y="15196"/>
                  </a:lnTo>
                  <a:lnTo>
                    <a:pt x="4821" y="10992"/>
                  </a:lnTo>
                  <a:lnTo>
                    <a:pt x="1366" y="8562"/>
                  </a:lnTo>
                  <a:lnTo>
                    <a:pt x="0" y="4533"/>
                  </a:lnTo>
                  <a:lnTo>
                    <a:pt x="5179" y="0"/>
                  </a:lnTo>
                  <a:close/>
                </a:path>
              </a:pathLst>
            </a:custGeom>
            <a:grpFill/>
            <a:ln w="25400" cap="flat">
              <a:noFill/>
              <a:prstDash val="solid"/>
              <a:miter lim="400000"/>
            </a:ln>
            <a:effectLst/>
          </p:spPr>
          <p:txBody>
            <a:bodyPr anchor="ctr"/>
            <a:lstStyle/>
            <a:p>
              <a:pPr algn="ctr"/>
              <a:endParaRPr/>
            </a:p>
          </p:txBody>
        </p:sp>
        <p:sp>
          <p:nvSpPr>
            <p:cNvPr id="90" name="išľîḍè">
              <a:extLst>
                <a:ext uri="{FF2B5EF4-FFF2-40B4-BE49-F238E27FC236}">
                  <a16:creationId xmlns:a16="http://schemas.microsoft.com/office/drawing/2014/main" id="{0A4B3A84-E984-4ED3-8D80-89D5DFBDD5D2}"/>
                </a:ext>
              </a:extLst>
            </p:cNvPr>
            <p:cNvSpPr/>
            <p:nvPr/>
          </p:nvSpPr>
          <p:spPr>
            <a:xfrm>
              <a:off x="9478424" y="3163043"/>
              <a:ext cx="55804" cy="107550"/>
            </a:xfrm>
            <a:custGeom>
              <a:avLst/>
              <a:gdLst/>
              <a:ahLst/>
              <a:cxnLst>
                <a:cxn ang="0">
                  <a:pos x="wd2" y="hd2"/>
                </a:cxn>
                <a:cxn ang="5400000">
                  <a:pos x="wd2" y="hd2"/>
                </a:cxn>
                <a:cxn ang="10800000">
                  <a:pos x="wd2" y="hd2"/>
                </a:cxn>
                <a:cxn ang="16200000">
                  <a:pos x="wd2" y="hd2"/>
                </a:cxn>
              </a:cxnLst>
              <a:rect l="0" t="0" r="r" b="b"/>
              <a:pathLst>
                <a:path w="21570" h="21600" extrusionOk="0">
                  <a:moveTo>
                    <a:pt x="10688" y="0"/>
                  </a:moveTo>
                  <a:lnTo>
                    <a:pt x="7165" y="3027"/>
                  </a:lnTo>
                  <a:lnTo>
                    <a:pt x="5618" y="8797"/>
                  </a:lnTo>
                  <a:lnTo>
                    <a:pt x="0" y="12556"/>
                  </a:lnTo>
                  <a:lnTo>
                    <a:pt x="2313" y="15996"/>
                  </a:lnTo>
                  <a:lnTo>
                    <a:pt x="6119" y="18152"/>
                  </a:lnTo>
                  <a:lnTo>
                    <a:pt x="12017" y="21600"/>
                  </a:lnTo>
                  <a:lnTo>
                    <a:pt x="18421" y="20856"/>
                  </a:lnTo>
                  <a:lnTo>
                    <a:pt x="19994" y="15920"/>
                  </a:lnTo>
                  <a:lnTo>
                    <a:pt x="19601" y="12480"/>
                  </a:lnTo>
                  <a:cubicBezTo>
                    <a:pt x="20082" y="11316"/>
                    <a:pt x="20475" y="10143"/>
                    <a:pt x="20780" y="8963"/>
                  </a:cubicBezTo>
                  <a:cubicBezTo>
                    <a:pt x="21337" y="6812"/>
                    <a:pt x="21600" y="4643"/>
                    <a:pt x="21567" y="2472"/>
                  </a:cubicBezTo>
                  <a:lnTo>
                    <a:pt x="10688" y="0"/>
                  </a:lnTo>
                  <a:close/>
                </a:path>
              </a:pathLst>
            </a:custGeom>
            <a:grpFill/>
            <a:ln w="25400" cap="flat">
              <a:noFill/>
              <a:prstDash val="solid"/>
              <a:miter lim="400000"/>
            </a:ln>
            <a:effectLst/>
          </p:spPr>
          <p:txBody>
            <a:bodyPr anchor="ctr"/>
            <a:lstStyle/>
            <a:p>
              <a:pPr algn="ctr"/>
              <a:endParaRPr/>
            </a:p>
          </p:txBody>
        </p:sp>
        <p:sp>
          <p:nvSpPr>
            <p:cNvPr id="91" name="ïŝ1iḓe">
              <a:extLst>
                <a:ext uri="{FF2B5EF4-FFF2-40B4-BE49-F238E27FC236}">
                  <a16:creationId xmlns:a16="http://schemas.microsoft.com/office/drawing/2014/main" id="{1A47F24B-4ACD-4AE6-AA82-47680C59C1E9}"/>
                </a:ext>
              </a:extLst>
            </p:cNvPr>
            <p:cNvSpPr/>
            <p:nvPr/>
          </p:nvSpPr>
          <p:spPr>
            <a:xfrm>
              <a:off x="9135285" y="3359667"/>
              <a:ext cx="61216" cy="64164"/>
            </a:xfrm>
            <a:custGeom>
              <a:avLst/>
              <a:gdLst/>
              <a:ahLst/>
              <a:cxnLst>
                <a:cxn ang="0">
                  <a:pos x="wd2" y="hd2"/>
                </a:cxn>
                <a:cxn ang="5400000">
                  <a:pos x="wd2" y="hd2"/>
                </a:cxn>
                <a:cxn ang="10800000">
                  <a:pos x="wd2" y="hd2"/>
                </a:cxn>
                <a:cxn ang="16200000">
                  <a:pos x="wd2" y="hd2"/>
                </a:cxn>
              </a:cxnLst>
              <a:rect l="0" t="0" r="r" b="b"/>
              <a:pathLst>
                <a:path w="21600" h="21600" extrusionOk="0">
                  <a:moveTo>
                    <a:pt x="20237" y="806"/>
                  </a:moveTo>
                  <a:lnTo>
                    <a:pt x="13014" y="0"/>
                  </a:lnTo>
                  <a:lnTo>
                    <a:pt x="4311" y="2387"/>
                  </a:lnTo>
                  <a:lnTo>
                    <a:pt x="1595" y="5661"/>
                  </a:lnTo>
                  <a:lnTo>
                    <a:pt x="0" y="10054"/>
                  </a:lnTo>
                  <a:lnTo>
                    <a:pt x="1800" y="15494"/>
                  </a:lnTo>
                  <a:lnTo>
                    <a:pt x="5016" y="21600"/>
                  </a:lnTo>
                  <a:lnTo>
                    <a:pt x="11327" y="20806"/>
                  </a:lnTo>
                  <a:lnTo>
                    <a:pt x="13480" y="14360"/>
                  </a:lnTo>
                  <a:lnTo>
                    <a:pt x="21600" y="6554"/>
                  </a:lnTo>
                  <a:lnTo>
                    <a:pt x="20237" y="806"/>
                  </a:lnTo>
                  <a:close/>
                </a:path>
              </a:pathLst>
            </a:custGeom>
            <a:grpFill/>
            <a:ln w="25400" cap="flat">
              <a:noFill/>
              <a:prstDash val="solid"/>
              <a:miter lim="400000"/>
            </a:ln>
            <a:effectLst/>
          </p:spPr>
          <p:txBody>
            <a:bodyPr anchor="ctr"/>
            <a:lstStyle/>
            <a:p>
              <a:pPr algn="ctr"/>
              <a:endParaRPr/>
            </a:p>
          </p:txBody>
        </p:sp>
        <p:sp>
          <p:nvSpPr>
            <p:cNvPr id="92" name="íSḻíde">
              <a:extLst>
                <a:ext uri="{FF2B5EF4-FFF2-40B4-BE49-F238E27FC236}">
                  <a16:creationId xmlns:a16="http://schemas.microsoft.com/office/drawing/2014/main" id="{296E3B79-20E0-4F1F-B9A8-59F3C99051F5}"/>
                </a:ext>
              </a:extLst>
            </p:cNvPr>
            <p:cNvSpPr/>
            <p:nvPr/>
          </p:nvSpPr>
          <p:spPr>
            <a:xfrm>
              <a:off x="9517257" y="3403769"/>
              <a:ext cx="158867" cy="207893"/>
            </a:xfrm>
            <a:custGeom>
              <a:avLst/>
              <a:gdLst/>
              <a:ahLst/>
              <a:cxnLst>
                <a:cxn ang="0">
                  <a:pos x="wd2" y="hd2"/>
                </a:cxn>
                <a:cxn ang="5400000">
                  <a:pos x="wd2" y="hd2"/>
                </a:cxn>
                <a:cxn ang="10800000">
                  <a:pos x="wd2" y="hd2"/>
                </a:cxn>
                <a:cxn ang="16200000">
                  <a:pos x="wd2" y="hd2"/>
                </a:cxn>
              </a:cxnLst>
              <a:rect l="0" t="0" r="r" b="b"/>
              <a:pathLst>
                <a:path w="21600" h="21600" extrusionOk="0">
                  <a:moveTo>
                    <a:pt x="6205" y="214"/>
                  </a:moveTo>
                  <a:lnTo>
                    <a:pt x="2995" y="0"/>
                  </a:lnTo>
                  <a:lnTo>
                    <a:pt x="2584" y="2552"/>
                  </a:lnTo>
                  <a:lnTo>
                    <a:pt x="3044" y="4581"/>
                  </a:lnTo>
                  <a:lnTo>
                    <a:pt x="2030" y="7340"/>
                  </a:lnTo>
                  <a:lnTo>
                    <a:pt x="0" y="9509"/>
                  </a:lnTo>
                  <a:cubicBezTo>
                    <a:pt x="160" y="10395"/>
                    <a:pt x="581" y="11243"/>
                    <a:pt x="1232" y="11988"/>
                  </a:cubicBezTo>
                  <a:cubicBezTo>
                    <a:pt x="2023" y="12895"/>
                    <a:pt x="3124" y="13621"/>
                    <a:pt x="4418" y="14087"/>
                  </a:cubicBezTo>
                  <a:lnTo>
                    <a:pt x="5236" y="15133"/>
                  </a:lnTo>
                  <a:lnTo>
                    <a:pt x="7310" y="17966"/>
                  </a:lnTo>
                  <a:lnTo>
                    <a:pt x="8555" y="18981"/>
                  </a:lnTo>
                  <a:lnTo>
                    <a:pt x="11367" y="20065"/>
                  </a:lnTo>
                  <a:lnTo>
                    <a:pt x="14409" y="20170"/>
                  </a:lnTo>
                  <a:lnTo>
                    <a:pt x="16201" y="20275"/>
                  </a:lnTo>
                  <a:lnTo>
                    <a:pt x="18690" y="21010"/>
                  </a:lnTo>
                  <a:lnTo>
                    <a:pt x="21410" y="21600"/>
                  </a:lnTo>
                  <a:lnTo>
                    <a:pt x="21600" y="19654"/>
                  </a:lnTo>
                  <a:lnTo>
                    <a:pt x="20730" y="18749"/>
                  </a:lnTo>
                  <a:lnTo>
                    <a:pt x="19543" y="17743"/>
                  </a:lnTo>
                  <a:lnTo>
                    <a:pt x="15953" y="18233"/>
                  </a:lnTo>
                  <a:cubicBezTo>
                    <a:pt x="15448" y="18445"/>
                    <a:pt x="14862" y="18519"/>
                    <a:pt x="14294" y="18443"/>
                  </a:cubicBezTo>
                  <a:cubicBezTo>
                    <a:pt x="13070" y="18278"/>
                    <a:pt x="12157" y="17495"/>
                    <a:pt x="12093" y="16553"/>
                  </a:cubicBezTo>
                  <a:lnTo>
                    <a:pt x="9471" y="15298"/>
                  </a:lnTo>
                  <a:lnTo>
                    <a:pt x="8693" y="14218"/>
                  </a:lnTo>
                  <a:lnTo>
                    <a:pt x="8601" y="12924"/>
                  </a:lnTo>
                  <a:cubicBezTo>
                    <a:pt x="9108" y="12238"/>
                    <a:pt x="9615" y="11551"/>
                    <a:pt x="10122" y="10864"/>
                  </a:cubicBezTo>
                  <a:cubicBezTo>
                    <a:pt x="10531" y="10309"/>
                    <a:pt x="10940" y="9754"/>
                    <a:pt x="11349" y="9198"/>
                  </a:cubicBezTo>
                  <a:lnTo>
                    <a:pt x="11759" y="7593"/>
                  </a:lnTo>
                  <a:lnTo>
                    <a:pt x="9915" y="5459"/>
                  </a:lnTo>
                  <a:lnTo>
                    <a:pt x="8117" y="3260"/>
                  </a:lnTo>
                  <a:lnTo>
                    <a:pt x="6205" y="214"/>
                  </a:lnTo>
                  <a:close/>
                </a:path>
              </a:pathLst>
            </a:custGeom>
            <a:grpFill/>
            <a:ln w="25400" cap="flat">
              <a:noFill/>
              <a:prstDash val="solid"/>
              <a:miter lim="400000"/>
            </a:ln>
            <a:effectLst/>
          </p:spPr>
          <p:txBody>
            <a:bodyPr anchor="ctr"/>
            <a:lstStyle/>
            <a:p>
              <a:pPr algn="ctr"/>
              <a:endParaRPr/>
            </a:p>
          </p:txBody>
        </p:sp>
        <p:sp>
          <p:nvSpPr>
            <p:cNvPr id="93" name="ïṡḷïďé">
              <a:extLst>
                <a:ext uri="{FF2B5EF4-FFF2-40B4-BE49-F238E27FC236}">
                  <a16:creationId xmlns:a16="http://schemas.microsoft.com/office/drawing/2014/main" id="{15A03DB9-4032-4B1A-9453-CE4BB583FA57}"/>
                </a:ext>
              </a:extLst>
            </p:cNvPr>
            <p:cNvSpPr/>
            <p:nvPr/>
          </p:nvSpPr>
          <p:spPr>
            <a:xfrm>
              <a:off x="9453604" y="3685864"/>
              <a:ext cx="89307" cy="96995"/>
            </a:xfrm>
            <a:custGeom>
              <a:avLst/>
              <a:gdLst/>
              <a:ahLst/>
              <a:cxnLst>
                <a:cxn ang="0">
                  <a:pos x="wd2" y="hd2"/>
                </a:cxn>
                <a:cxn ang="5400000">
                  <a:pos x="wd2" y="hd2"/>
                </a:cxn>
                <a:cxn ang="10800000">
                  <a:pos x="wd2" y="hd2"/>
                </a:cxn>
                <a:cxn ang="16200000">
                  <a:pos x="wd2" y="hd2"/>
                </a:cxn>
              </a:cxnLst>
              <a:rect l="0" t="0" r="r" b="b"/>
              <a:pathLst>
                <a:path w="20505" h="19908" extrusionOk="0">
                  <a:moveTo>
                    <a:pt x="17580" y="0"/>
                  </a:moveTo>
                  <a:lnTo>
                    <a:pt x="14738" y="1728"/>
                  </a:lnTo>
                  <a:lnTo>
                    <a:pt x="10679" y="5098"/>
                  </a:lnTo>
                  <a:lnTo>
                    <a:pt x="8216" y="7569"/>
                  </a:lnTo>
                  <a:lnTo>
                    <a:pt x="8222" y="12060"/>
                  </a:lnTo>
                  <a:lnTo>
                    <a:pt x="5046" y="14125"/>
                  </a:lnTo>
                  <a:cubicBezTo>
                    <a:pt x="3326" y="12967"/>
                    <a:pt x="832" y="13677"/>
                    <a:pt x="191" y="15507"/>
                  </a:cubicBezTo>
                  <a:cubicBezTo>
                    <a:pt x="-1095" y="19179"/>
                    <a:pt x="4427" y="21600"/>
                    <a:pt x="6929" y="18462"/>
                  </a:cubicBezTo>
                  <a:lnTo>
                    <a:pt x="10638" y="16258"/>
                  </a:lnTo>
                  <a:lnTo>
                    <a:pt x="12739" y="13426"/>
                  </a:lnTo>
                  <a:lnTo>
                    <a:pt x="14530" y="11490"/>
                  </a:lnTo>
                  <a:lnTo>
                    <a:pt x="18733" y="6592"/>
                  </a:lnTo>
                  <a:lnTo>
                    <a:pt x="20505" y="1980"/>
                  </a:lnTo>
                  <a:lnTo>
                    <a:pt x="17580" y="0"/>
                  </a:lnTo>
                  <a:close/>
                </a:path>
              </a:pathLst>
            </a:custGeom>
            <a:grpFill/>
            <a:ln w="25400" cap="flat">
              <a:noFill/>
              <a:prstDash val="solid"/>
              <a:miter lim="400000"/>
            </a:ln>
            <a:effectLst/>
          </p:spPr>
          <p:txBody>
            <a:bodyPr anchor="ctr"/>
            <a:lstStyle/>
            <a:p>
              <a:pPr algn="ctr"/>
              <a:endParaRPr/>
            </a:p>
          </p:txBody>
        </p:sp>
        <p:sp>
          <p:nvSpPr>
            <p:cNvPr id="94" name="i$ļïḓé">
              <a:extLst>
                <a:ext uri="{FF2B5EF4-FFF2-40B4-BE49-F238E27FC236}">
                  <a16:creationId xmlns:a16="http://schemas.microsoft.com/office/drawing/2014/main" id="{18EC5492-C516-4B8B-A675-BCF8B10D9DB6}"/>
                </a:ext>
              </a:extLst>
            </p:cNvPr>
            <p:cNvSpPr/>
            <p:nvPr/>
          </p:nvSpPr>
          <p:spPr>
            <a:xfrm>
              <a:off x="9553899" y="3604386"/>
              <a:ext cx="41967" cy="41633"/>
            </a:xfrm>
            <a:custGeom>
              <a:avLst/>
              <a:gdLst/>
              <a:ahLst/>
              <a:cxnLst>
                <a:cxn ang="0">
                  <a:pos x="wd2" y="hd2"/>
                </a:cxn>
                <a:cxn ang="5400000">
                  <a:pos x="wd2" y="hd2"/>
                </a:cxn>
                <a:cxn ang="10800000">
                  <a:pos x="wd2" y="hd2"/>
                </a:cxn>
                <a:cxn ang="16200000">
                  <a:pos x="wd2" y="hd2"/>
                </a:cxn>
              </a:cxnLst>
              <a:rect l="0" t="0" r="r" b="b"/>
              <a:pathLst>
                <a:path w="21600" h="21600" extrusionOk="0">
                  <a:moveTo>
                    <a:pt x="5824" y="0"/>
                  </a:moveTo>
                  <a:lnTo>
                    <a:pt x="0" y="3997"/>
                  </a:lnTo>
                  <a:lnTo>
                    <a:pt x="7260" y="15507"/>
                  </a:lnTo>
                  <a:lnTo>
                    <a:pt x="11327" y="21600"/>
                  </a:lnTo>
                  <a:lnTo>
                    <a:pt x="21600" y="21076"/>
                  </a:lnTo>
                  <a:lnTo>
                    <a:pt x="15668" y="7101"/>
                  </a:lnTo>
                  <a:lnTo>
                    <a:pt x="5824" y="0"/>
                  </a:lnTo>
                  <a:close/>
                </a:path>
              </a:pathLst>
            </a:custGeom>
            <a:grpFill/>
            <a:ln w="25400" cap="flat">
              <a:noFill/>
              <a:prstDash val="solid"/>
              <a:miter lim="400000"/>
            </a:ln>
            <a:effectLst/>
          </p:spPr>
          <p:txBody>
            <a:bodyPr anchor="ctr"/>
            <a:lstStyle/>
            <a:p>
              <a:pPr algn="ctr"/>
              <a:endParaRPr/>
            </a:p>
          </p:txBody>
        </p:sp>
        <p:sp>
          <p:nvSpPr>
            <p:cNvPr id="95" name="íṧḻïdê">
              <a:extLst>
                <a:ext uri="{FF2B5EF4-FFF2-40B4-BE49-F238E27FC236}">
                  <a16:creationId xmlns:a16="http://schemas.microsoft.com/office/drawing/2014/main" id="{609E406E-9FC4-4BAB-89BF-AB7D88727453}"/>
                </a:ext>
              </a:extLst>
            </p:cNvPr>
            <p:cNvSpPr/>
            <p:nvPr/>
          </p:nvSpPr>
          <p:spPr>
            <a:xfrm>
              <a:off x="9690104" y="3635830"/>
              <a:ext cx="70568" cy="49078"/>
            </a:xfrm>
            <a:custGeom>
              <a:avLst/>
              <a:gdLst/>
              <a:ahLst/>
              <a:cxnLst>
                <a:cxn ang="0">
                  <a:pos x="wd2" y="hd2"/>
                </a:cxn>
                <a:cxn ang="5400000">
                  <a:pos x="wd2" y="hd2"/>
                </a:cxn>
                <a:cxn ang="10800000">
                  <a:pos x="wd2" y="hd2"/>
                </a:cxn>
                <a:cxn ang="16200000">
                  <a:pos x="wd2" y="hd2"/>
                </a:cxn>
              </a:cxnLst>
              <a:rect l="0" t="0" r="r" b="b"/>
              <a:pathLst>
                <a:path w="21600" h="21600" extrusionOk="0">
                  <a:moveTo>
                    <a:pt x="3112" y="90"/>
                  </a:moveTo>
                  <a:lnTo>
                    <a:pt x="0" y="1424"/>
                  </a:lnTo>
                  <a:lnTo>
                    <a:pt x="3236" y="8466"/>
                  </a:lnTo>
                  <a:lnTo>
                    <a:pt x="8121" y="17785"/>
                  </a:lnTo>
                  <a:lnTo>
                    <a:pt x="13518" y="21155"/>
                  </a:lnTo>
                  <a:lnTo>
                    <a:pt x="21600" y="21600"/>
                  </a:lnTo>
                  <a:lnTo>
                    <a:pt x="17669" y="11727"/>
                  </a:lnTo>
                  <a:lnTo>
                    <a:pt x="14063" y="7299"/>
                  </a:lnTo>
                  <a:lnTo>
                    <a:pt x="10768" y="6411"/>
                  </a:lnTo>
                  <a:lnTo>
                    <a:pt x="7589" y="0"/>
                  </a:lnTo>
                  <a:lnTo>
                    <a:pt x="3112" y="90"/>
                  </a:lnTo>
                  <a:close/>
                </a:path>
              </a:pathLst>
            </a:custGeom>
            <a:grpFill/>
            <a:ln w="25400" cap="flat">
              <a:noFill/>
              <a:prstDash val="solid"/>
              <a:miter lim="400000"/>
            </a:ln>
            <a:effectLst/>
          </p:spPr>
          <p:txBody>
            <a:bodyPr anchor="ctr"/>
            <a:lstStyle/>
            <a:p>
              <a:pPr algn="ctr"/>
              <a:endParaRPr/>
            </a:p>
          </p:txBody>
        </p:sp>
        <p:sp>
          <p:nvSpPr>
            <p:cNvPr id="96" name="íṣlïḑé">
              <a:extLst>
                <a:ext uri="{FF2B5EF4-FFF2-40B4-BE49-F238E27FC236}">
                  <a16:creationId xmlns:a16="http://schemas.microsoft.com/office/drawing/2014/main" id="{B07B174A-74D5-43C0-B192-B7D74E7666DE}"/>
                </a:ext>
              </a:extLst>
            </p:cNvPr>
            <p:cNvSpPr/>
            <p:nvPr/>
          </p:nvSpPr>
          <p:spPr>
            <a:xfrm>
              <a:off x="9646111" y="3565738"/>
              <a:ext cx="19467" cy="25344"/>
            </a:xfrm>
            <a:custGeom>
              <a:avLst/>
              <a:gdLst/>
              <a:ahLst/>
              <a:cxnLst>
                <a:cxn ang="0">
                  <a:pos x="wd2" y="hd2"/>
                </a:cxn>
                <a:cxn ang="5400000">
                  <a:pos x="wd2" y="hd2"/>
                </a:cxn>
                <a:cxn ang="10800000">
                  <a:pos x="wd2" y="hd2"/>
                </a:cxn>
                <a:cxn ang="16200000">
                  <a:pos x="wd2" y="hd2"/>
                </a:cxn>
              </a:cxnLst>
              <a:rect l="0" t="0" r="r" b="b"/>
              <a:pathLst>
                <a:path w="21600" h="21600" extrusionOk="0">
                  <a:moveTo>
                    <a:pt x="20404" y="4234"/>
                  </a:moveTo>
                  <a:lnTo>
                    <a:pt x="5083" y="0"/>
                  </a:lnTo>
                  <a:lnTo>
                    <a:pt x="0" y="11342"/>
                  </a:lnTo>
                  <a:lnTo>
                    <a:pt x="21600" y="21600"/>
                  </a:lnTo>
                  <a:lnTo>
                    <a:pt x="20404" y="4234"/>
                  </a:lnTo>
                  <a:close/>
                </a:path>
              </a:pathLst>
            </a:custGeom>
            <a:grpFill/>
            <a:ln w="25400" cap="flat">
              <a:noFill/>
              <a:prstDash val="solid"/>
              <a:miter lim="400000"/>
            </a:ln>
            <a:effectLst/>
          </p:spPr>
          <p:txBody>
            <a:bodyPr anchor="ctr"/>
            <a:lstStyle/>
            <a:p>
              <a:pPr algn="ctr"/>
              <a:endParaRPr/>
            </a:p>
          </p:txBody>
        </p:sp>
        <p:sp>
          <p:nvSpPr>
            <p:cNvPr id="97" name="iŝľíḑe">
              <a:extLst>
                <a:ext uri="{FF2B5EF4-FFF2-40B4-BE49-F238E27FC236}">
                  <a16:creationId xmlns:a16="http://schemas.microsoft.com/office/drawing/2014/main" id="{AF03429A-CCD5-4CBE-8E09-5E30B97F4DC0}"/>
                </a:ext>
              </a:extLst>
            </p:cNvPr>
            <p:cNvSpPr/>
            <p:nvPr/>
          </p:nvSpPr>
          <p:spPr>
            <a:xfrm>
              <a:off x="9594891" y="3654803"/>
              <a:ext cx="47691" cy="48989"/>
            </a:xfrm>
            <a:custGeom>
              <a:avLst/>
              <a:gdLst/>
              <a:ahLst/>
              <a:cxnLst>
                <a:cxn ang="0">
                  <a:pos x="wd2" y="hd2"/>
                </a:cxn>
                <a:cxn ang="5400000">
                  <a:pos x="wd2" y="hd2"/>
                </a:cxn>
                <a:cxn ang="10800000">
                  <a:pos x="wd2" y="hd2"/>
                </a:cxn>
                <a:cxn ang="16200000">
                  <a:pos x="wd2" y="hd2"/>
                </a:cxn>
              </a:cxnLst>
              <a:rect l="0" t="0" r="r" b="b"/>
              <a:pathLst>
                <a:path w="21600" h="21600" extrusionOk="0">
                  <a:moveTo>
                    <a:pt x="9899" y="3302"/>
                  </a:moveTo>
                  <a:cubicBezTo>
                    <a:pt x="9224" y="3989"/>
                    <a:pt x="8549" y="4676"/>
                    <a:pt x="7875" y="5363"/>
                  </a:cubicBezTo>
                  <a:cubicBezTo>
                    <a:pt x="7200" y="6049"/>
                    <a:pt x="6525" y="6736"/>
                    <a:pt x="5850" y="7423"/>
                  </a:cubicBezTo>
                  <a:lnTo>
                    <a:pt x="0" y="13749"/>
                  </a:lnTo>
                  <a:lnTo>
                    <a:pt x="5955" y="20264"/>
                  </a:lnTo>
                  <a:lnTo>
                    <a:pt x="13153" y="21600"/>
                  </a:lnTo>
                  <a:lnTo>
                    <a:pt x="16685" y="18073"/>
                  </a:lnTo>
                  <a:lnTo>
                    <a:pt x="16244" y="11856"/>
                  </a:lnTo>
                  <a:lnTo>
                    <a:pt x="21600" y="2243"/>
                  </a:lnTo>
                  <a:lnTo>
                    <a:pt x="15783" y="0"/>
                  </a:lnTo>
                  <a:lnTo>
                    <a:pt x="9899" y="3302"/>
                  </a:lnTo>
                  <a:close/>
                </a:path>
              </a:pathLst>
            </a:custGeom>
            <a:grpFill/>
            <a:ln w="25400" cap="flat">
              <a:noFill/>
              <a:prstDash val="solid"/>
              <a:miter lim="400000"/>
            </a:ln>
            <a:effectLst/>
          </p:spPr>
          <p:txBody>
            <a:bodyPr anchor="ctr"/>
            <a:lstStyle/>
            <a:p>
              <a:pPr algn="ctr"/>
              <a:endParaRPr/>
            </a:p>
          </p:txBody>
        </p:sp>
        <p:sp>
          <p:nvSpPr>
            <p:cNvPr id="98" name="ïšlïḓé">
              <a:extLst>
                <a:ext uri="{FF2B5EF4-FFF2-40B4-BE49-F238E27FC236}">
                  <a16:creationId xmlns:a16="http://schemas.microsoft.com/office/drawing/2014/main" id="{126BE4E6-9FB7-4DC8-A2BC-5C65A2952832}"/>
                </a:ext>
              </a:extLst>
            </p:cNvPr>
            <p:cNvSpPr/>
            <p:nvPr/>
          </p:nvSpPr>
          <p:spPr>
            <a:xfrm>
              <a:off x="9632393" y="3706816"/>
              <a:ext cx="37284" cy="54904"/>
            </a:xfrm>
            <a:custGeom>
              <a:avLst/>
              <a:gdLst/>
              <a:ahLst/>
              <a:cxnLst>
                <a:cxn ang="0">
                  <a:pos x="wd2" y="hd2"/>
                </a:cxn>
                <a:cxn ang="5400000">
                  <a:pos x="wd2" y="hd2"/>
                </a:cxn>
                <a:cxn ang="10800000">
                  <a:pos x="wd2" y="hd2"/>
                </a:cxn>
                <a:cxn ang="16200000">
                  <a:pos x="wd2" y="hd2"/>
                </a:cxn>
              </a:cxnLst>
              <a:rect l="0" t="0" r="r" b="b"/>
              <a:pathLst>
                <a:path w="21600" h="21600" extrusionOk="0">
                  <a:moveTo>
                    <a:pt x="7580" y="0"/>
                  </a:moveTo>
                  <a:lnTo>
                    <a:pt x="5492" y="4637"/>
                  </a:lnTo>
                  <a:lnTo>
                    <a:pt x="0" y="9562"/>
                  </a:lnTo>
                  <a:lnTo>
                    <a:pt x="532" y="14978"/>
                  </a:lnTo>
                  <a:lnTo>
                    <a:pt x="5198" y="17362"/>
                  </a:lnTo>
                  <a:lnTo>
                    <a:pt x="8142" y="21600"/>
                  </a:lnTo>
                  <a:lnTo>
                    <a:pt x="17499" y="19994"/>
                  </a:lnTo>
                  <a:lnTo>
                    <a:pt x="17499" y="13520"/>
                  </a:lnTo>
                  <a:lnTo>
                    <a:pt x="21600" y="9579"/>
                  </a:lnTo>
                  <a:lnTo>
                    <a:pt x="19856" y="4413"/>
                  </a:lnTo>
                  <a:lnTo>
                    <a:pt x="14429" y="2161"/>
                  </a:lnTo>
                  <a:lnTo>
                    <a:pt x="7580" y="0"/>
                  </a:lnTo>
                  <a:close/>
                </a:path>
              </a:pathLst>
            </a:custGeom>
            <a:grpFill/>
            <a:ln w="25400" cap="flat">
              <a:noFill/>
              <a:prstDash val="solid"/>
              <a:miter lim="400000"/>
            </a:ln>
            <a:effectLst/>
          </p:spPr>
          <p:txBody>
            <a:bodyPr anchor="ctr"/>
            <a:lstStyle/>
            <a:p>
              <a:pPr algn="ctr"/>
              <a:endParaRPr/>
            </a:p>
          </p:txBody>
        </p:sp>
        <p:sp>
          <p:nvSpPr>
            <p:cNvPr id="99" name="î$ḻïḍe">
              <a:extLst>
                <a:ext uri="{FF2B5EF4-FFF2-40B4-BE49-F238E27FC236}">
                  <a16:creationId xmlns:a16="http://schemas.microsoft.com/office/drawing/2014/main" id="{60BDFED1-4E77-43FB-89C4-55C62F72C721}"/>
                </a:ext>
              </a:extLst>
            </p:cNvPr>
            <p:cNvSpPr/>
            <p:nvPr/>
          </p:nvSpPr>
          <p:spPr>
            <a:xfrm>
              <a:off x="9681665" y="3678031"/>
              <a:ext cx="29941" cy="51005"/>
            </a:xfrm>
            <a:custGeom>
              <a:avLst/>
              <a:gdLst/>
              <a:ahLst/>
              <a:cxnLst>
                <a:cxn ang="0">
                  <a:pos x="wd2" y="hd2"/>
                </a:cxn>
                <a:cxn ang="5400000">
                  <a:pos x="wd2" y="hd2"/>
                </a:cxn>
                <a:cxn ang="10800000">
                  <a:pos x="wd2" y="hd2"/>
                </a:cxn>
                <a:cxn ang="16200000">
                  <a:pos x="wd2" y="hd2"/>
                </a:cxn>
              </a:cxnLst>
              <a:rect l="0" t="0" r="r" b="b"/>
              <a:pathLst>
                <a:path w="21600" h="21600" extrusionOk="0">
                  <a:moveTo>
                    <a:pt x="10374" y="2282"/>
                  </a:moveTo>
                  <a:lnTo>
                    <a:pt x="2301" y="0"/>
                  </a:lnTo>
                  <a:lnTo>
                    <a:pt x="0" y="4114"/>
                  </a:lnTo>
                  <a:lnTo>
                    <a:pt x="8942" y="8249"/>
                  </a:lnTo>
                  <a:lnTo>
                    <a:pt x="10410" y="16662"/>
                  </a:lnTo>
                  <a:lnTo>
                    <a:pt x="13285" y="21600"/>
                  </a:lnTo>
                  <a:lnTo>
                    <a:pt x="21600" y="19354"/>
                  </a:lnTo>
                  <a:lnTo>
                    <a:pt x="20132" y="10993"/>
                  </a:lnTo>
                  <a:lnTo>
                    <a:pt x="10374" y="2282"/>
                  </a:lnTo>
                  <a:close/>
                </a:path>
              </a:pathLst>
            </a:custGeom>
            <a:grpFill/>
            <a:ln w="25400" cap="flat">
              <a:noFill/>
              <a:prstDash val="solid"/>
              <a:miter lim="400000"/>
            </a:ln>
            <a:effectLst/>
          </p:spPr>
          <p:txBody>
            <a:bodyPr anchor="ctr"/>
            <a:lstStyle/>
            <a:p>
              <a:pPr algn="ctr"/>
              <a:endParaRPr/>
            </a:p>
          </p:txBody>
        </p:sp>
        <p:sp>
          <p:nvSpPr>
            <p:cNvPr id="100" name="ïS1îḑe">
              <a:extLst>
                <a:ext uri="{FF2B5EF4-FFF2-40B4-BE49-F238E27FC236}">
                  <a16:creationId xmlns:a16="http://schemas.microsoft.com/office/drawing/2014/main" id="{54906690-F5F1-4971-9439-7E68E539ED96}"/>
                </a:ext>
              </a:extLst>
            </p:cNvPr>
            <p:cNvSpPr/>
            <p:nvPr/>
          </p:nvSpPr>
          <p:spPr>
            <a:xfrm>
              <a:off x="9628583" y="3726518"/>
              <a:ext cx="162677" cy="158780"/>
            </a:xfrm>
            <a:custGeom>
              <a:avLst/>
              <a:gdLst/>
              <a:ahLst/>
              <a:cxnLst>
                <a:cxn ang="0">
                  <a:pos x="wd2" y="hd2"/>
                </a:cxn>
                <a:cxn ang="5400000">
                  <a:pos x="wd2" y="hd2"/>
                </a:cxn>
                <a:cxn ang="10800000">
                  <a:pos x="wd2" y="hd2"/>
                </a:cxn>
                <a:cxn ang="16200000">
                  <a:pos x="wd2" y="hd2"/>
                </a:cxn>
              </a:cxnLst>
              <a:rect l="0" t="0" r="r" b="b"/>
              <a:pathLst>
                <a:path w="21246" h="21600" extrusionOk="0">
                  <a:moveTo>
                    <a:pt x="15618" y="0"/>
                  </a:moveTo>
                  <a:lnTo>
                    <a:pt x="14068" y="137"/>
                  </a:lnTo>
                  <a:lnTo>
                    <a:pt x="13901" y="3471"/>
                  </a:lnTo>
                  <a:lnTo>
                    <a:pt x="11653" y="5499"/>
                  </a:lnTo>
                  <a:lnTo>
                    <a:pt x="9433" y="7154"/>
                  </a:lnTo>
                  <a:lnTo>
                    <a:pt x="8019" y="8935"/>
                  </a:lnTo>
                  <a:lnTo>
                    <a:pt x="6129" y="8803"/>
                  </a:lnTo>
                  <a:lnTo>
                    <a:pt x="4020" y="7291"/>
                  </a:lnTo>
                  <a:lnTo>
                    <a:pt x="1658" y="8253"/>
                  </a:lnTo>
                  <a:lnTo>
                    <a:pt x="1029" y="10864"/>
                  </a:lnTo>
                  <a:lnTo>
                    <a:pt x="0" y="12771"/>
                  </a:lnTo>
                  <a:lnTo>
                    <a:pt x="3621" y="12908"/>
                  </a:lnTo>
                  <a:lnTo>
                    <a:pt x="5425" y="10801"/>
                  </a:lnTo>
                  <a:lnTo>
                    <a:pt x="6970" y="11345"/>
                  </a:lnTo>
                  <a:lnTo>
                    <a:pt x="8696" y="13544"/>
                  </a:lnTo>
                  <a:lnTo>
                    <a:pt x="8696" y="16286"/>
                  </a:lnTo>
                  <a:lnTo>
                    <a:pt x="10584" y="19825"/>
                  </a:lnTo>
                  <a:lnTo>
                    <a:pt x="11691" y="21600"/>
                  </a:lnTo>
                  <a:lnTo>
                    <a:pt x="13329" y="20592"/>
                  </a:lnTo>
                  <a:lnTo>
                    <a:pt x="14785" y="19539"/>
                  </a:lnTo>
                  <a:lnTo>
                    <a:pt x="16955" y="20226"/>
                  </a:lnTo>
                  <a:lnTo>
                    <a:pt x="17088" y="18955"/>
                  </a:lnTo>
                  <a:lnTo>
                    <a:pt x="14658" y="17037"/>
                  </a:lnTo>
                  <a:lnTo>
                    <a:pt x="14525" y="14747"/>
                  </a:lnTo>
                  <a:lnTo>
                    <a:pt x="15986" y="13831"/>
                  </a:lnTo>
                  <a:lnTo>
                    <a:pt x="18372" y="14380"/>
                  </a:lnTo>
                  <a:lnTo>
                    <a:pt x="18632" y="17071"/>
                  </a:lnTo>
                  <a:cubicBezTo>
                    <a:pt x="19138" y="17458"/>
                    <a:pt x="19818" y="17494"/>
                    <a:pt x="20359" y="17163"/>
                  </a:cubicBezTo>
                  <a:cubicBezTo>
                    <a:pt x="21600" y="16403"/>
                    <a:pt x="21524" y="14520"/>
                    <a:pt x="20226" y="13871"/>
                  </a:cubicBezTo>
                  <a:cubicBezTo>
                    <a:pt x="19707" y="12622"/>
                    <a:pt x="19161" y="11385"/>
                    <a:pt x="18588" y="10161"/>
                  </a:cubicBezTo>
                  <a:cubicBezTo>
                    <a:pt x="18105" y="9128"/>
                    <a:pt x="17603" y="8105"/>
                    <a:pt x="17082" y="7092"/>
                  </a:cubicBezTo>
                  <a:lnTo>
                    <a:pt x="16551" y="3382"/>
                  </a:lnTo>
                  <a:lnTo>
                    <a:pt x="15618" y="0"/>
                  </a:lnTo>
                  <a:close/>
                </a:path>
              </a:pathLst>
            </a:custGeom>
            <a:grpFill/>
            <a:ln w="25400" cap="flat">
              <a:noFill/>
              <a:prstDash val="solid"/>
              <a:miter lim="400000"/>
            </a:ln>
            <a:effectLst/>
          </p:spPr>
          <p:txBody>
            <a:bodyPr anchor="ctr"/>
            <a:lstStyle/>
            <a:p>
              <a:pPr algn="ctr"/>
              <a:endParaRPr/>
            </a:p>
          </p:txBody>
        </p:sp>
        <p:sp>
          <p:nvSpPr>
            <p:cNvPr id="101" name="íṩḻidè">
              <a:extLst>
                <a:ext uri="{FF2B5EF4-FFF2-40B4-BE49-F238E27FC236}">
                  <a16:creationId xmlns:a16="http://schemas.microsoft.com/office/drawing/2014/main" id="{0FEE6E9F-C193-4C28-B6C2-0893740F3602}"/>
                </a:ext>
              </a:extLst>
            </p:cNvPr>
            <p:cNvSpPr/>
            <p:nvPr/>
          </p:nvSpPr>
          <p:spPr>
            <a:xfrm>
              <a:off x="9187751" y="3843193"/>
              <a:ext cx="329761" cy="381201"/>
            </a:xfrm>
            <a:custGeom>
              <a:avLst/>
              <a:gdLst/>
              <a:ahLst/>
              <a:cxnLst>
                <a:cxn ang="0">
                  <a:pos x="wd2" y="hd2"/>
                </a:cxn>
                <a:cxn ang="5400000">
                  <a:pos x="wd2" y="hd2"/>
                </a:cxn>
                <a:cxn ang="10800000">
                  <a:pos x="wd2" y="hd2"/>
                </a:cxn>
                <a:cxn ang="16200000">
                  <a:pos x="wd2" y="hd2"/>
                </a:cxn>
              </a:cxnLst>
              <a:rect l="0" t="0" r="r" b="b"/>
              <a:pathLst>
                <a:path w="21600" h="21600" extrusionOk="0">
                  <a:moveTo>
                    <a:pt x="17693" y="182"/>
                  </a:moveTo>
                  <a:lnTo>
                    <a:pt x="19070" y="0"/>
                  </a:lnTo>
                  <a:lnTo>
                    <a:pt x="20340" y="1335"/>
                  </a:lnTo>
                  <a:lnTo>
                    <a:pt x="21003" y="2362"/>
                  </a:lnTo>
                  <a:lnTo>
                    <a:pt x="21600" y="2990"/>
                  </a:lnTo>
                  <a:lnTo>
                    <a:pt x="21001" y="3848"/>
                  </a:lnTo>
                  <a:lnTo>
                    <a:pt x="20512" y="4459"/>
                  </a:lnTo>
                  <a:lnTo>
                    <a:pt x="19915" y="5222"/>
                  </a:lnTo>
                  <a:lnTo>
                    <a:pt x="19382" y="6290"/>
                  </a:lnTo>
                  <a:lnTo>
                    <a:pt x="19382" y="7432"/>
                  </a:lnTo>
                  <a:lnTo>
                    <a:pt x="19626" y="8233"/>
                  </a:lnTo>
                  <a:lnTo>
                    <a:pt x="20490" y="9318"/>
                  </a:lnTo>
                  <a:lnTo>
                    <a:pt x="21464" y="10423"/>
                  </a:lnTo>
                  <a:lnTo>
                    <a:pt x="21531" y="12044"/>
                  </a:lnTo>
                  <a:lnTo>
                    <a:pt x="19671" y="12598"/>
                  </a:lnTo>
                  <a:lnTo>
                    <a:pt x="19271" y="13509"/>
                  </a:lnTo>
                  <a:lnTo>
                    <a:pt x="19427" y="14768"/>
                  </a:lnTo>
                  <a:lnTo>
                    <a:pt x="18783" y="15910"/>
                  </a:lnTo>
                  <a:lnTo>
                    <a:pt x="18030" y="16900"/>
                  </a:lnTo>
                  <a:lnTo>
                    <a:pt x="16831" y="17925"/>
                  </a:lnTo>
                  <a:lnTo>
                    <a:pt x="16378" y="19125"/>
                  </a:lnTo>
                  <a:lnTo>
                    <a:pt x="15584" y="20935"/>
                  </a:lnTo>
                  <a:lnTo>
                    <a:pt x="14482" y="21600"/>
                  </a:lnTo>
                  <a:lnTo>
                    <a:pt x="13585" y="21028"/>
                  </a:lnTo>
                  <a:lnTo>
                    <a:pt x="12212" y="20589"/>
                  </a:lnTo>
                  <a:lnTo>
                    <a:pt x="11498" y="20436"/>
                  </a:lnTo>
                  <a:lnTo>
                    <a:pt x="10252" y="20665"/>
                  </a:lnTo>
                  <a:lnTo>
                    <a:pt x="9540" y="20665"/>
                  </a:lnTo>
                  <a:lnTo>
                    <a:pt x="7603" y="20436"/>
                  </a:lnTo>
                  <a:lnTo>
                    <a:pt x="6274" y="20172"/>
                  </a:lnTo>
                  <a:lnTo>
                    <a:pt x="4280" y="19885"/>
                  </a:lnTo>
                  <a:lnTo>
                    <a:pt x="3374" y="19375"/>
                  </a:lnTo>
                  <a:lnTo>
                    <a:pt x="2783" y="17734"/>
                  </a:lnTo>
                  <a:lnTo>
                    <a:pt x="1530" y="16227"/>
                  </a:lnTo>
                  <a:cubicBezTo>
                    <a:pt x="1300" y="15735"/>
                    <a:pt x="1078" y="15241"/>
                    <a:pt x="863" y="14744"/>
                  </a:cubicBezTo>
                  <a:cubicBezTo>
                    <a:pt x="560" y="14044"/>
                    <a:pt x="273" y="13340"/>
                    <a:pt x="0" y="12631"/>
                  </a:cubicBezTo>
                  <a:lnTo>
                    <a:pt x="197" y="11603"/>
                  </a:lnTo>
                  <a:lnTo>
                    <a:pt x="1259" y="10406"/>
                  </a:lnTo>
                  <a:lnTo>
                    <a:pt x="2436" y="9948"/>
                  </a:lnTo>
                  <a:lnTo>
                    <a:pt x="2902" y="10864"/>
                  </a:lnTo>
                  <a:lnTo>
                    <a:pt x="3946" y="11529"/>
                  </a:lnTo>
                  <a:lnTo>
                    <a:pt x="4323" y="10976"/>
                  </a:lnTo>
                  <a:lnTo>
                    <a:pt x="4723" y="9946"/>
                  </a:lnTo>
                  <a:lnTo>
                    <a:pt x="5431" y="9223"/>
                  </a:lnTo>
                  <a:lnTo>
                    <a:pt x="6230" y="8765"/>
                  </a:lnTo>
                  <a:lnTo>
                    <a:pt x="7338" y="8307"/>
                  </a:lnTo>
                  <a:lnTo>
                    <a:pt x="8604" y="7735"/>
                  </a:lnTo>
                  <a:lnTo>
                    <a:pt x="9378" y="7184"/>
                  </a:lnTo>
                  <a:lnTo>
                    <a:pt x="10242" y="5586"/>
                  </a:lnTo>
                  <a:lnTo>
                    <a:pt x="10927" y="5033"/>
                  </a:lnTo>
                  <a:lnTo>
                    <a:pt x="11838" y="4480"/>
                  </a:lnTo>
                  <a:lnTo>
                    <a:pt x="12570" y="4251"/>
                  </a:lnTo>
                  <a:lnTo>
                    <a:pt x="13392" y="4041"/>
                  </a:lnTo>
                  <a:lnTo>
                    <a:pt x="14386" y="3302"/>
                  </a:lnTo>
                  <a:lnTo>
                    <a:pt x="15319" y="2405"/>
                  </a:lnTo>
                  <a:lnTo>
                    <a:pt x="16229" y="1451"/>
                  </a:lnTo>
                  <a:lnTo>
                    <a:pt x="17693" y="182"/>
                  </a:lnTo>
                  <a:close/>
                </a:path>
              </a:pathLst>
            </a:custGeom>
            <a:grpFill/>
            <a:ln w="25400" cap="flat">
              <a:noFill/>
              <a:prstDash val="solid"/>
              <a:miter lim="400000"/>
            </a:ln>
            <a:effectLst/>
          </p:spPr>
          <p:txBody>
            <a:bodyPr anchor="ctr"/>
            <a:lstStyle/>
            <a:p>
              <a:pPr algn="ctr"/>
              <a:endParaRPr/>
            </a:p>
          </p:txBody>
        </p:sp>
        <p:sp>
          <p:nvSpPr>
            <p:cNvPr id="102" name="iSḷiďe">
              <a:extLst>
                <a:ext uri="{FF2B5EF4-FFF2-40B4-BE49-F238E27FC236}">
                  <a16:creationId xmlns:a16="http://schemas.microsoft.com/office/drawing/2014/main" id="{4460EA5E-BD5F-4E28-85CC-E1934AEE8D2D}"/>
                </a:ext>
              </a:extLst>
            </p:cNvPr>
            <p:cNvSpPr/>
            <p:nvPr/>
          </p:nvSpPr>
          <p:spPr>
            <a:xfrm>
              <a:off x="9518950" y="4026819"/>
              <a:ext cx="221080" cy="264412"/>
            </a:xfrm>
            <a:custGeom>
              <a:avLst/>
              <a:gdLst/>
              <a:ahLst/>
              <a:cxnLst>
                <a:cxn ang="0">
                  <a:pos x="wd2" y="hd2"/>
                </a:cxn>
                <a:cxn ang="5400000">
                  <a:pos x="wd2" y="hd2"/>
                </a:cxn>
                <a:cxn ang="10800000">
                  <a:pos x="wd2" y="hd2"/>
                </a:cxn>
                <a:cxn ang="16200000">
                  <a:pos x="wd2" y="hd2"/>
                </a:cxn>
              </a:cxnLst>
              <a:rect l="0" t="0" r="r" b="b"/>
              <a:pathLst>
                <a:path w="21600" h="21600" extrusionOk="0">
                  <a:moveTo>
                    <a:pt x="21600" y="10"/>
                  </a:moveTo>
                  <a:lnTo>
                    <a:pt x="19302" y="0"/>
                  </a:lnTo>
                  <a:lnTo>
                    <a:pt x="18507" y="1508"/>
                  </a:lnTo>
                  <a:lnTo>
                    <a:pt x="16888" y="2495"/>
                  </a:lnTo>
                  <a:lnTo>
                    <a:pt x="15588" y="2660"/>
                  </a:lnTo>
                  <a:lnTo>
                    <a:pt x="14223" y="1866"/>
                  </a:lnTo>
                  <a:lnTo>
                    <a:pt x="11000" y="1783"/>
                  </a:lnTo>
                  <a:lnTo>
                    <a:pt x="9523" y="1673"/>
                  </a:lnTo>
                  <a:lnTo>
                    <a:pt x="7078" y="1838"/>
                  </a:lnTo>
                  <a:lnTo>
                    <a:pt x="3910" y="2828"/>
                  </a:lnTo>
                  <a:lnTo>
                    <a:pt x="3328" y="4063"/>
                  </a:lnTo>
                  <a:lnTo>
                    <a:pt x="3249" y="6070"/>
                  </a:lnTo>
                  <a:lnTo>
                    <a:pt x="3252" y="8298"/>
                  </a:lnTo>
                  <a:lnTo>
                    <a:pt x="3450" y="9618"/>
                  </a:lnTo>
                  <a:lnTo>
                    <a:pt x="3152" y="10719"/>
                  </a:lnTo>
                  <a:lnTo>
                    <a:pt x="1267" y="12420"/>
                  </a:lnTo>
                  <a:lnTo>
                    <a:pt x="0" y="14236"/>
                  </a:lnTo>
                  <a:lnTo>
                    <a:pt x="998" y="16436"/>
                  </a:lnTo>
                  <a:lnTo>
                    <a:pt x="1891" y="17340"/>
                  </a:lnTo>
                  <a:lnTo>
                    <a:pt x="2289" y="18739"/>
                  </a:lnTo>
                  <a:lnTo>
                    <a:pt x="1593" y="20390"/>
                  </a:lnTo>
                  <a:lnTo>
                    <a:pt x="2388" y="21600"/>
                  </a:lnTo>
                  <a:lnTo>
                    <a:pt x="4442" y="21352"/>
                  </a:lnTo>
                  <a:lnTo>
                    <a:pt x="5237" y="19733"/>
                  </a:lnTo>
                  <a:lnTo>
                    <a:pt x="4342" y="17643"/>
                  </a:lnTo>
                  <a:lnTo>
                    <a:pt x="3945" y="16161"/>
                  </a:lnTo>
                  <a:cubicBezTo>
                    <a:pt x="4074" y="15650"/>
                    <a:pt x="4347" y="15172"/>
                    <a:pt x="4740" y="14765"/>
                  </a:cubicBezTo>
                  <a:cubicBezTo>
                    <a:pt x="5266" y="14220"/>
                    <a:pt x="5984" y="13826"/>
                    <a:pt x="6793" y="13637"/>
                  </a:cubicBezTo>
                  <a:lnTo>
                    <a:pt x="8040" y="13310"/>
                  </a:lnTo>
                  <a:lnTo>
                    <a:pt x="8802" y="14576"/>
                  </a:lnTo>
                  <a:lnTo>
                    <a:pt x="8802" y="16635"/>
                  </a:lnTo>
                  <a:cubicBezTo>
                    <a:pt x="9210" y="17046"/>
                    <a:pt x="9677" y="17415"/>
                    <a:pt x="10193" y="17732"/>
                  </a:cubicBezTo>
                  <a:cubicBezTo>
                    <a:pt x="10742" y="18070"/>
                    <a:pt x="11342" y="18347"/>
                    <a:pt x="11978" y="18557"/>
                  </a:cubicBezTo>
                  <a:cubicBezTo>
                    <a:pt x="12325" y="18437"/>
                    <a:pt x="12624" y="18237"/>
                    <a:pt x="12839" y="17979"/>
                  </a:cubicBezTo>
                  <a:cubicBezTo>
                    <a:pt x="13328" y="17393"/>
                    <a:pt x="13328" y="16616"/>
                    <a:pt x="12839" y="16030"/>
                  </a:cubicBezTo>
                  <a:lnTo>
                    <a:pt x="12209" y="14548"/>
                  </a:lnTo>
                  <a:cubicBezTo>
                    <a:pt x="11711" y="14198"/>
                    <a:pt x="11335" y="13743"/>
                    <a:pt x="11120" y="13231"/>
                  </a:cubicBezTo>
                  <a:cubicBezTo>
                    <a:pt x="10817" y="12506"/>
                    <a:pt x="10852" y="11712"/>
                    <a:pt x="11220" y="11007"/>
                  </a:cubicBezTo>
                  <a:lnTo>
                    <a:pt x="12512" y="9934"/>
                  </a:lnTo>
                  <a:lnTo>
                    <a:pt x="14201" y="9109"/>
                  </a:lnTo>
                  <a:lnTo>
                    <a:pt x="15352" y="8700"/>
                  </a:lnTo>
                  <a:lnTo>
                    <a:pt x="14756" y="7572"/>
                  </a:lnTo>
                  <a:lnTo>
                    <a:pt x="12081" y="7903"/>
                  </a:lnTo>
                  <a:lnTo>
                    <a:pt x="8450" y="9109"/>
                  </a:lnTo>
                  <a:cubicBezTo>
                    <a:pt x="7962" y="9001"/>
                    <a:pt x="7496" y="8834"/>
                    <a:pt x="7067" y="8614"/>
                  </a:cubicBezTo>
                  <a:cubicBezTo>
                    <a:pt x="6290" y="8217"/>
                    <a:pt x="5653" y="7659"/>
                    <a:pt x="5216" y="6995"/>
                  </a:cubicBezTo>
                  <a:cubicBezTo>
                    <a:pt x="5085" y="6422"/>
                    <a:pt x="5085" y="5835"/>
                    <a:pt x="5216" y="5262"/>
                  </a:cubicBezTo>
                  <a:cubicBezTo>
                    <a:pt x="5343" y="4707"/>
                    <a:pt x="5600" y="4165"/>
                    <a:pt x="6106" y="3787"/>
                  </a:cubicBezTo>
                  <a:cubicBezTo>
                    <a:pt x="6720" y="3329"/>
                    <a:pt x="7565" y="3206"/>
                    <a:pt x="8388" y="3154"/>
                  </a:cubicBezTo>
                  <a:cubicBezTo>
                    <a:pt x="9337" y="3095"/>
                    <a:pt x="10291" y="3113"/>
                    <a:pt x="11236" y="3209"/>
                  </a:cubicBezTo>
                  <a:lnTo>
                    <a:pt x="12594" y="3347"/>
                  </a:lnTo>
                  <a:lnTo>
                    <a:pt x="13886" y="3787"/>
                  </a:lnTo>
                  <a:lnTo>
                    <a:pt x="15045" y="4475"/>
                  </a:lnTo>
                  <a:lnTo>
                    <a:pt x="16900" y="4695"/>
                  </a:lnTo>
                  <a:cubicBezTo>
                    <a:pt x="17689" y="4733"/>
                    <a:pt x="18466" y="4527"/>
                    <a:pt x="19083" y="4117"/>
                  </a:cubicBezTo>
                  <a:cubicBezTo>
                    <a:pt x="19535" y="3816"/>
                    <a:pt x="19878" y="3418"/>
                    <a:pt x="20076" y="2965"/>
                  </a:cubicBezTo>
                  <a:lnTo>
                    <a:pt x="21434" y="1511"/>
                  </a:lnTo>
                  <a:lnTo>
                    <a:pt x="21600" y="10"/>
                  </a:lnTo>
                  <a:close/>
                </a:path>
              </a:pathLst>
            </a:custGeom>
            <a:grpFill/>
            <a:ln w="25400" cap="flat">
              <a:noFill/>
              <a:prstDash val="solid"/>
              <a:miter lim="400000"/>
            </a:ln>
            <a:effectLst/>
          </p:spPr>
          <p:txBody>
            <a:bodyPr anchor="ctr"/>
            <a:lstStyle/>
            <a:p>
              <a:pPr algn="ctr"/>
              <a:endParaRPr/>
            </a:p>
          </p:txBody>
        </p:sp>
        <p:sp>
          <p:nvSpPr>
            <p:cNvPr id="103" name="işḷídê">
              <a:extLst>
                <a:ext uri="{FF2B5EF4-FFF2-40B4-BE49-F238E27FC236}">
                  <a16:creationId xmlns:a16="http://schemas.microsoft.com/office/drawing/2014/main" id="{B26460C8-A83E-4D5D-BBA8-D0383C3498E1}"/>
                </a:ext>
              </a:extLst>
            </p:cNvPr>
            <p:cNvSpPr/>
            <p:nvPr/>
          </p:nvSpPr>
          <p:spPr>
            <a:xfrm>
              <a:off x="9816350" y="3993819"/>
              <a:ext cx="41001" cy="103795"/>
            </a:xfrm>
            <a:custGeom>
              <a:avLst/>
              <a:gdLst/>
              <a:ahLst/>
              <a:cxnLst>
                <a:cxn ang="0">
                  <a:pos x="wd2" y="hd2"/>
                </a:cxn>
                <a:cxn ang="5400000">
                  <a:pos x="wd2" y="hd2"/>
                </a:cxn>
                <a:cxn ang="10800000">
                  <a:pos x="wd2" y="hd2"/>
                </a:cxn>
                <a:cxn ang="16200000">
                  <a:pos x="wd2" y="hd2"/>
                </a:cxn>
              </a:cxnLst>
              <a:rect l="0" t="0" r="r" b="b"/>
              <a:pathLst>
                <a:path w="21600" h="21600" extrusionOk="0">
                  <a:moveTo>
                    <a:pt x="17255" y="0"/>
                  </a:moveTo>
                  <a:lnTo>
                    <a:pt x="9754" y="981"/>
                  </a:lnTo>
                  <a:lnTo>
                    <a:pt x="6086" y="3566"/>
                  </a:lnTo>
                  <a:lnTo>
                    <a:pt x="1417" y="5861"/>
                  </a:lnTo>
                  <a:lnTo>
                    <a:pt x="4076" y="9434"/>
                  </a:lnTo>
                  <a:lnTo>
                    <a:pt x="6254" y="12097"/>
                  </a:lnTo>
                  <a:lnTo>
                    <a:pt x="3575" y="14050"/>
                  </a:lnTo>
                  <a:lnTo>
                    <a:pt x="383" y="15872"/>
                  </a:lnTo>
                  <a:lnTo>
                    <a:pt x="0" y="19016"/>
                  </a:lnTo>
                  <a:lnTo>
                    <a:pt x="9298" y="21600"/>
                  </a:lnTo>
                  <a:lnTo>
                    <a:pt x="16777" y="20549"/>
                  </a:lnTo>
                  <a:lnTo>
                    <a:pt x="17849" y="16774"/>
                  </a:lnTo>
                  <a:lnTo>
                    <a:pt x="17849" y="12999"/>
                  </a:lnTo>
                  <a:lnTo>
                    <a:pt x="14300" y="9426"/>
                  </a:lnTo>
                  <a:lnTo>
                    <a:pt x="11643" y="6290"/>
                  </a:lnTo>
                  <a:lnTo>
                    <a:pt x="13250" y="4118"/>
                  </a:lnTo>
                  <a:lnTo>
                    <a:pt x="21600" y="2454"/>
                  </a:lnTo>
                  <a:lnTo>
                    <a:pt x="17255" y="0"/>
                  </a:lnTo>
                  <a:close/>
                </a:path>
              </a:pathLst>
            </a:custGeom>
            <a:grpFill/>
            <a:ln w="25400" cap="flat">
              <a:noFill/>
              <a:prstDash val="solid"/>
              <a:miter lim="400000"/>
            </a:ln>
            <a:effectLst/>
          </p:spPr>
          <p:txBody>
            <a:bodyPr anchor="ctr"/>
            <a:lstStyle/>
            <a:p>
              <a:pPr algn="ctr"/>
              <a:endParaRPr/>
            </a:p>
          </p:txBody>
        </p:sp>
        <p:sp>
          <p:nvSpPr>
            <p:cNvPr id="104" name="iṩ1íḋê">
              <a:extLst>
                <a:ext uri="{FF2B5EF4-FFF2-40B4-BE49-F238E27FC236}">
                  <a16:creationId xmlns:a16="http://schemas.microsoft.com/office/drawing/2014/main" id="{0C081CF7-68EE-457F-9056-97344E931F1B}"/>
                </a:ext>
              </a:extLst>
            </p:cNvPr>
            <p:cNvSpPr/>
            <p:nvPr/>
          </p:nvSpPr>
          <p:spPr>
            <a:xfrm>
              <a:off x="9834437" y="4184237"/>
              <a:ext cx="82580" cy="37553"/>
            </a:xfrm>
            <a:custGeom>
              <a:avLst/>
              <a:gdLst/>
              <a:ahLst/>
              <a:cxnLst>
                <a:cxn ang="0">
                  <a:pos x="wd2" y="hd2"/>
                </a:cxn>
                <a:cxn ang="5400000">
                  <a:pos x="wd2" y="hd2"/>
                </a:cxn>
                <a:cxn ang="10800000">
                  <a:pos x="wd2" y="hd2"/>
                </a:cxn>
                <a:cxn ang="16200000">
                  <a:pos x="wd2" y="hd2"/>
                </a:cxn>
              </a:cxnLst>
              <a:rect l="0" t="0" r="r" b="b"/>
              <a:pathLst>
                <a:path w="21500" h="19363" extrusionOk="0">
                  <a:moveTo>
                    <a:pt x="5683" y="318"/>
                  </a:moveTo>
                  <a:lnTo>
                    <a:pt x="1027" y="1360"/>
                  </a:lnTo>
                  <a:lnTo>
                    <a:pt x="0" y="7059"/>
                  </a:lnTo>
                  <a:lnTo>
                    <a:pt x="2914" y="13850"/>
                  </a:lnTo>
                  <a:lnTo>
                    <a:pt x="8729" y="12808"/>
                  </a:lnTo>
                  <a:lnTo>
                    <a:pt x="9876" y="18864"/>
                  </a:lnTo>
                  <a:lnTo>
                    <a:pt x="14356" y="19363"/>
                  </a:lnTo>
                  <a:cubicBezTo>
                    <a:pt x="15680" y="17818"/>
                    <a:pt x="17000" y="16262"/>
                    <a:pt x="18317" y="14697"/>
                  </a:cubicBezTo>
                  <a:cubicBezTo>
                    <a:pt x="19936" y="12772"/>
                    <a:pt x="21600" y="10321"/>
                    <a:pt x="21495" y="6712"/>
                  </a:cubicBezTo>
                  <a:cubicBezTo>
                    <a:pt x="21234" y="-2237"/>
                    <a:pt x="14529" y="-2237"/>
                    <a:pt x="14268" y="6712"/>
                  </a:cubicBezTo>
                  <a:lnTo>
                    <a:pt x="10052" y="5498"/>
                  </a:lnTo>
                  <a:lnTo>
                    <a:pt x="5683" y="318"/>
                  </a:lnTo>
                  <a:close/>
                </a:path>
              </a:pathLst>
            </a:custGeom>
            <a:grpFill/>
            <a:ln w="25400" cap="flat">
              <a:noFill/>
              <a:prstDash val="solid"/>
              <a:miter lim="400000"/>
            </a:ln>
            <a:effectLst/>
          </p:spPr>
          <p:txBody>
            <a:bodyPr anchor="ctr"/>
            <a:lstStyle/>
            <a:p>
              <a:pPr algn="ctr"/>
              <a:endParaRPr/>
            </a:p>
          </p:txBody>
        </p:sp>
        <p:sp>
          <p:nvSpPr>
            <p:cNvPr id="105" name="ïṥliďé">
              <a:extLst>
                <a:ext uri="{FF2B5EF4-FFF2-40B4-BE49-F238E27FC236}">
                  <a16:creationId xmlns:a16="http://schemas.microsoft.com/office/drawing/2014/main" id="{B4F394E0-8DEF-4EEC-8920-22DEB299ADF1}"/>
                </a:ext>
              </a:extLst>
            </p:cNvPr>
            <p:cNvSpPr/>
            <p:nvPr/>
          </p:nvSpPr>
          <p:spPr>
            <a:xfrm>
              <a:off x="9664278" y="4387494"/>
              <a:ext cx="133525" cy="80961"/>
            </a:xfrm>
            <a:custGeom>
              <a:avLst/>
              <a:gdLst/>
              <a:ahLst/>
              <a:cxnLst>
                <a:cxn ang="0">
                  <a:pos x="wd2" y="hd2"/>
                </a:cxn>
                <a:cxn ang="5400000">
                  <a:pos x="wd2" y="hd2"/>
                </a:cxn>
                <a:cxn ang="10800000">
                  <a:pos x="wd2" y="hd2"/>
                </a:cxn>
                <a:cxn ang="16200000">
                  <a:pos x="wd2" y="hd2"/>
                </a:cxn>
              </a:cxnLst>
              <a:rect l="0" t="0" r="r" b="b"/>
              <a:pathLst>
                <a:path w="21600" h="21600" extrusionOk="0">
                  <a:moveTo>
                    <a:pt x="14152" y="0"/>
                  </a:moveTo>
                  <a:lnTo>
                    <a:pt x="10628" y="460"/>
                  </a:lnTo>
                  <a:lnTo>
                    <a:pt x="7726" y="4319"/>
                  </a:lnTo>
                  <a:lnTo>
                    <a:pt x="5627" y="8451"/>
                  </a:lnTo>
                  <a:lnTo>
                    <a:pt x="4174" y="14357"/>
                  </a:lnTo>
                  <a:lnTo>
                    <a:pt x="1935" y="16154"/>
                  </a:lnTo>
                  <a:lnTo>
                    <a:pt x="0" y="18468"/>
                  </a:lnTo>
                  <a:lnTo>
                    <a:pt x="1106" y="21600"/>
                  </a:lnTo>
                  <a:lnTo>
                    <a:pt x="6381" y="17839"/>
                  </a:lnTo>
                  <a:lnTo>
                    <a:pt x="8410" y="9597"/>
                  </a:lnTo>
                  <a:lnTo>
                    <a:pt x="11042" y="7530"/>
                  </a:lnTo>
                  <a:lnTo>
                    <a:pt x="13668" y="8597"/>
                  </a:lnTo>
                  <a:lnTo>
                    <a:pt x="17384" y="8597"/>
                  </a:lnTo>
                  <a:lnTo>
                    <a:pt x="21600" y="6531"/>
                  </a:lnTo>
                  <a:lnTo>
                    <a:pt x="19790" y="883"/>
                  </a:lnTo>
                  <a:lnTo>
                    <a:pt x="16677" y="3399"/>
                  </a:lnTo>
                  <a:lnTo>
                    <a:pt x="14152" y="0"/>
                  </a:lnTo>
                  <a:close/>
                </a:path>
              </a:pathLst>
            </a:custGeom>
            <a:grpFill/>
            <a:ln w="25400" cap="flat">
              <a:noFill/>
              <a:prstDash val="solid"/>
              <a:miter lim="400000"/>
            </a:ln>
            <a:effectLst/>
          </p:spPr>
          <p:txBody>
            <a:bodyPr anchor="ctr"/>
            <a:lstStyle/>
            <a:p>
              <a:pPr algn="ctr"/>
              <a:endParaRPr/>
            </a:p>
          </p:txBody>
        </p:sp>
        <p:sp>
          <p:nvSpPr>
            <p:cNvPr id="106" name="îṥ1íde">
              <a:extLst>
                <a:ext uri="{FF2B5EF4-FFF2-40B4-BE49-F238E27FC236}">
                  <a16:creationId xmlns:a16="http://schemas.microsoft.com/office/drawing/2014/main" id="{1BD52943-D120-4A10-8B9F-748224A108D1}"/>
                </a:ext>
              </a:extLst>
            </p:cNvPr>
            <p:cNvSpPr/>
            <p:nvPr/>
          </p:nvSpPr>
          <p:spPr>
            <a:xfrm>
              <a:off x="9557284" y="4379124"/>
              <a:ext cx="90437" cy="43332"/>
            </a:xfrm>
            <a:custGeom>
              <a:avLst/>
              <a:gdLst/>
              <a:ahLst/>
              <a:cxnLst>
                <a:cxn ang="0">
                  <a:pos x="wd2" y="hd2"/>
                </a:cxn>
                <a:cxn ang="5400000">
                  <a:pos x="wd2" y="hd2"/>
                </a:cxn>
                <a:cxn ang="10800000">
                  <a:pos x="wd2" y="hd2"/>
                </a:cxn>
                <a:cxn ang="16200000">
                  <a:pos x="wd2" y="hd2"/>
                </a:cxn>
              </a:cxnLst>
              <a:rect l="0" t="0" r="r" b="b"/>
              <a:pathLst>
                <a:path w="20127" h="20202" extrusionOk="0">
                  <a:moveTo>
                    <a:pt x="8120" y="1413"/>
                  </a:moveTo>
                  <a:lnTo>
                    <a:pt x="2989" y="0"/>
                  </a:lnTo>
                  <a:lnTo>
                    <a:pt x="0" y="4386"/>
                  </a:lnTo>
                  <a:lnTo>
                    <a:pt x="2074" y="13178"/>
                  </a:lnTo>
                  <a:lnTo>
                    <a:pt x="6156" y="20202"/>
                  </a:lnTo>
                  <a:lnTo>
                    <a:pt x="9392" y="20202"/>
                  </a:lnTo>
                  <a:cubicBezTo>
                    <a:pt x="9507" y="17730"/>
                    <a:pt x="10179" y="15518"/>
                    <a:pt x="11202" y="14238"/>
                  </a:cubicBezTo>
                  <a:cubicBezTo>
                    <a:pt x="12897" y="12117"/>
                    <a:pt x="14975" y="13081"/>
                    <a:pt x="16937" y="12982"/>
                  </a:cubicBezTo>
                  <a:cubicBezTo>
                    <a:pt x="17858" y="12935"/>
                    <a:pt x="18816" y="12577"/>
                    <a:pt x="19418" y="11137"/>
                  </a:cubicBezTo>
                  <a:cubicBezTo>
                    <a:pt x="21600" y="5910"/>
                    <a:pt x="18293" y="-1398"/>
                    <a:pt x="15654" y="2817"/>
                  </a:cubicBezTo>
                  <a:lnTo>
                    <a:pt x="11513" y="7369"/>
                  </a:lnTo>
                  <a:lnTo>
                    <a:pt x="8120" y="1413"/>
                  </a:lnTo>
                  <a:close/>
                </a:path>
              </a:pathLst>
            </a:custGeom>
            <a:grpFill/>
            <a:ln w="25400" cap="flat">
              <a:noFill/>
              <a:prstDash val="solid"/>
              <a:miter lim="400000"/>
            </a:ln>
            <a:effectLst/>
          </p:spPr>
          <p:txBody>
            <a:bodyPr anchor="ctr"/>
            <a:lstStyle/>
            <a:p>
              <a:pPr algn="ctr"/>
              <a:endParaRPr/>
            </a:p>
          </p:txBody>
        </p:sp>
        <p:sp>
          <p:nvSpPr>
            <p:cNvPr id="107" name="iṧḻïďé">
              <a:extLst>
                <a:ext uri="{FF2B5EF4-FFF2-40B4-BE49-F238E27FC236}">
                  <a16:creationId xmlns:a16="http://schemas.microsoft.com/office/drawing/2014/main" id="{F824C1B0-A2D0-42FE-8EF0-EE5AF90196F0}"/>
                </a:ext>
              </a:extLst>
            </p:cNvPr>
            <p:cNvSpPr/>
            <p:nvPr/>
          </p:nvSpPr>
          <p:spPr>
            <a:xfrm>
              <a:off x="9429485" y="4387992"/>
              <a:ext cx="74217" cy="35014"/>
            </a:xfrm>
            <a:custGeom>
              <a:avLst/>
              <a:gdLst/>
              <a:ahLst/>
              <a:cxnLst>
                <a:cxn ang="0">
                  <a:pos x="wd2" y="hd2"/>
                </a:cxn>
                <a:cxn ang="5400000">
                  <a:pos x="wd2" y="hd2"/>
                </a:cxn>
                <a:cxn ang="10800000">
                  <a:pos x="wd2" y="hd2"/>
                </a:cxn>
                <a:cxn ang="16200000">
                  <a:pos x="wd2" y="hd2"/>
                </a:cxn>
              </a:cxnLst>
              <a:rect l="0" t="0" r="r" b="b"/>
              <a:pathLst>
                <a:path w="21600" h="21600" extrusionOk="0">
                  <a:moveTo>
                    <a:pt x="11859" y="1149"/>
                  </a:moveTo>
                  <a:lnTo>
                    <a:pt x="16794" y="1980"/>
                  </a:lnTo>
                  <a:lnTo>
                    <a:pt x="20811" y="5943"/>
                  </a:lnTo>
                  <a:lnTo>
                    <a:pt x="21600" y="15447"/>
                  </a:lnTo>
                  <a:lnTo>
                    <a:pt x="15100" y="14824"/>
                  </a:lnTo>
                  <a:lnTo>
                    <a:pt x="10412" y="21600"/>
                  </a:lnTo>
                  <a:lnTo>
                    <a:pt x="4161" y="15786"/>
                  </a:lnTo>
                  <a:lnTo>
                    <a:pt x="0" y="8515"/>
                  </a:lnTo>
                  <a:lnTo>
                    <a:pt x="3564" y="3114"/>
                  </a:lnTo>
                  <a:lnTo>
                    <a:pt x="8770" y="0"/>
                  </a:lnTo>
                  <a:lnTo>
                    <a:pt x="11859" y="1149"/>
                  </a:lnTo>
                  <a:close/>
                </a:path>
              </a:pathLst>
            </a:custGeom>
            <a:grpFill/>
            <a:ln w="25400" cap="flat">
              <a:noFill/>
              <a:prstDash val="solid"/>
              <a:miter lim="400000"/>
            </a:ln>
            <a:effectLst/>
          </p:spPr>
          <p:txBody>
            <a:bodyPr anchor="ctr"/>
            <a:lstStyle/>
            <a:p>
              <a:pPr algn="ctr"/>
              <a:endParaRPr/>
            </a:p>
          </p:txBody>
        </p:sp>
        <p:sp>
          <p:nvSpPr>
            <p:cNvPr id="108" name="ïṡlïḓè">
              <a:extLst>
                <a:ext uri="{FF2B5EF4-FFF2-40B4-BE49-F238E27FC236}">
                  <a16:creationId xmlns:a16="http://schemas.microsoft.com/office/drawing/2014/main" id="{AD1C80F0-D44B-496D-B255-755F711A3354}"/>
                </a:ext>
              </a:extLst>
            </p:cNvPr>
            <p:cNvSpPr/>
            <p:nvPr/>
          </p:nvSpPr>
          <p:spPr>
            <a:xfrm>
              <a:off x="9520068" y="4428015"/>
              <a:ext cx="55095" cy="31317"/>
            </a:xfrm>
            <a:custGeom>
              <a:avLst/>
              <a:gdLst/>
              <a:ahLst/>
              <a:cxnLst>
                <a:cxn ang="0">
                  <a:pos x="wd2" y="hd2"/>
                </a:cxn>
                <a:cxn ang="5400000">
                  <a:pos x="wd2" y="hd2"/>
                </a:cxn>
                <a:cxn ang="10800000">
                  <a:pos x="wd2" y="hd2"/>
                </a:cxn>
                <a:cxn ang="16200000">
                  <a:pos x="wd2" y="hd2"/>
                </a:cxn>
              </a:cxnLst>
              <a:rect l="0" t="0" r="r" b="b"/>
              <a:pathLst>
                <a:path w="21600" h="21600" extrusionOk="0">
                  <a:moveTo>
                    <a:pt x="7893" y="1028"/>
                  </a:moveTo>
                  <a:lnTo>
                    <a:pt x="16832" y="971"/>
                  </a:lnTo>
                  <a:lnTo>
                    <a:pt x="20420" y="11208"/>
                  </a:lnTo>
                  <a:lnTo>
                    <a:pt x="21600" y="21600"/>
                  </a:lnTo>
                  <a:lnTo>
                    <a:pt x="16982" y="18870"/>
                  </a:lnTo>
                  <a:lnTo>
                    <a:pt x="11664" y="14489"/>
                  </a:lnTo>
                  <a:lnTo>
                    <a:pt x="5019" y="13095"/>
                  </a:lnTo>
                  <a:lnTo>
                    <a:pt x="0" y="8275"/>
                  </a:lnTo>
                  <a:lnTo>
                    <a:pt x="451" y="0"/>
                  </a:lnTo>
                  <a:lnTo>
                    <a:pt x="7893" y="1028"/>
                  </a:lnTo>
                  <a:close/>
                </a:path>
              </a:pathLst>
            </a:custGeom>
            <a:grpFill/>
            <a:ln w="25400" cap="flat">
              <a:noFill/>
              <a:prstDash val="solid"/>
              <a:miter lim="400000"/>
            </a:ln>
            <a:effectLst/>
          </p:spPr>
          <p:txBody>
            <a:bodyPr anchor="ctr"/>
            <a:lstStyle/>
            <a:p>
              <a:pPr algn="ctr"/>
              <a:endParaRPr/>
            </a:p>
          </p:txBody>
        </p:sp>
        <p:sp>
          <p:nvSpPr>
            <p:cNvPr id="109" name="íṥ1iḋe">
              <a:extLst>
                <a:ext uri="{FF2B5EF4-FFF2-40B4-BE49-F238E27FC236}">
                  <a16:creationId xmlns:a16="http://schemas.microsoft.com/office/drawing/2014/main" id="{576B6E19-6CAD-4713-B6FA-95D6A9EDCBC2}"/>
                </a:ext>
              </a:extLst>
            </p:cNvPr>
            <p:cNvSpPr/>
            <p:nvPr/>
          </p:nvSpPr>
          <p:spPr>
            <a:xfrm>
              <a:off x="9067733" y="4304888"/>
              <a:ext cx="331335" cy="94555"/>
            </a:xfrm>
            <a:custGeom>
              <a:avLst/>
              <a:gdLst/>
              <a:ahLst/>
              <a:cxnLst>
                <a:cxn ang="0">
                  <a:pos x="wd2" y="hd2"/>
                </a:cxn>
                <a:cxn ang="5400000">
                  <a:pos x="wd2" y="hd2"/>
                </a:cxn>
                <a:cxn ang="10800000">
                  <a:pos x="wd2" y="hd2"/>
                </a:cxn>
                <a:cxn ang="16200000">
                  <a:pos x="wd2" y="hd2"/>
                </a:cxn>
              </a:cxnLst>
              <a:rect l="0" t="0" r="r" b="b"/>
              <a:pathLst>
                <a:path w="21600" h="21600" extrusionOk="0">
                  <a:moveTo>
                    <a:pt x="3462" y="0"/>
                  </a:moveTo>
                  <a:lnTo>
                    <a:pt x="5763" y="1193"/>
                  </a:lnTo>
                  <a:lnTo>
                    <a:pt x="7140" y="6505"/>
                  </a:lnTo>
                  <a:lnTo>
                    <a:pt x="8532" y="9504"/>
                  </a:lnTo>
                  <a:lnTo>
                    <a:pt x="10248" y="8812"/>
                  </a:lnTo>
                  <a:lnTo>
                    <a:pt x="11883" y="6582"/>
                  </a:lnTo>
                  <a:lnTo>
                    <a:pt x="13403" y="5274"/>
                  </a:lnTo>
                  <a:lnTo>
                    <a:pt x="14790" y="7803"/>
                  </a:lnTo>
                  <a:lnTo>
                    <a:pt x="15917" y="11562"/>
                  </a:lnTo>
                  <a:lnTo>
                    <a:pt x="17221" y="12706"/>
                  </a:lnTo>
                  <a:lnTo>
                    <a:pt x="18945" y="12706"/>
                  </a:lnTo>
                  <a:lnTo>
                    <a:pt x="21465" y="16859"/>
                  </a:lnTo>
                  <a:lnTo>
                    <a:pt x="21600" y="19533"/>
                  </a:lnTo>
                  <a:lnTo>
                    <a:pt x="21006" y="21369"/>
                  </a:lnTo>
                  <a:lnTo>
                    <a:pt x="19970" y="21600"/>
                  </a:lnTo>
                  <a:lnTo>
                    <a:pt x="18003" y="19138"/>
                  </a:lnTo>
                  <a:lnTo>
                    <a:pt x="15022" y="18215"/>
                  </a:lnTo>
                  <a:lnTo>
                    <a:pt x="11204" y="18215"/>
                  </a:lnTo>
                  <a:lnTo>
                    <a:pt x="9900" y="15985"/>
                  </a:lnTo>
                  <a:lnTo>
                    <a:pt x="8817" y="13601"/>
                  </a:lnTo>
                  <a:lnTo>
                    <a:pt x="7759" y="13380"/>
                  </a:lnTo>
                  <a:lnTo>
                    <a:pt x="6457" y="15686"/>
                  </a:lnTo>
                  <a:cubicBezTo>
                    <a:pt x="6016" y="15792"/>
                    <a:pt x="5574" y="15767"/>
                    <a:pt x="5134" y="15610"/>
                  </a:cubicBezTo>
                  <a:cubicBezTo>
                    <a:pt x="4240" y="15293"/>
                    <a:pt x="3369" y="14440"/>
                    <a:pt x="2559" y="13091"/>
                  </a:cubicBezTo>
                  <a:cubicBezTo>
                    <a:pt x="2427" y="12283"/>
                    <a:pt x="2248" y="11576"/>
                    <a:pt x="2036" y="11014"/>
                  </a:cubicBezTo>
                  <a:cubicBezTo>
                    <a:pt x="1623" y="9923"/>
                    <a:pt x="1105" y="9427"/>
                    <a:pt x="590" y="9629"/>
                  </a:cubicBezTo>
                  <a:lnTo>
                    <a:pt x="0" y="6938"/>
                  </a:lnTo>
                  <a:lnTo>
                    <a:pt x="743" y="3332"/>
                  </a:lnTo>
                  <a:lnTo>
                    <a:pt x="1495" y="2410"/>
                  </a:lnTo>
                  <a:lnTo>
                    <a:pt x="3462" y="0"/>
                  </a:lnTo>
                  <a:close/>
                </a:path>
              </a:pathLst>
            </a:custGeom>
            <a:grpFill/>
            <a:ln w="25400" cap="flat">
              <a:noFill/>
              <a:prstDash val="solid"/>
              <a:miter lim="400000"/>
            </a:ln>
            <a:effectLst/>
          </p:spPr>
          <p:txBody>
            <a:bodyPr anchor="ctr"/>
            <a:lstStyle/>
            <a:p>
              <a:pPr algn="ctr"/>
              <a:endParaRPr/>
            </a:p>
          </p:txBody>
        </p:sp>
        <p:sp>
          <p:nvSpPr>
            <p:cNvPr id="110" name="ïşliḋè">
              <a:extLst>
                <a:ext uri="{FF2B5EF4-FFF2-40B4-BE49-F238E27FC236}">
                  <a16:creationId xmlns:a16="http://schemas.microsoft.com/office/drawing/2014/main" id="{F056C68F-9978-409C-A6E2-D6CC91EB3B35}"/>
                </a:ext>
              </a:extLst>
            </p:cNvPr>
            <p:cNvSpPr/>
            <p:nvPr/>
          </p:nvSpPr>
          <p:spPr>
            <a:xfrm>
              <a:off x="8739813" y="3881623"/>
              <a:ext cx="352969" cy="414364"/>
            </a:xfrm>
            <a:custGeom>
              <a:avLst/>
              <a:gdLst/>
              <a:ahLst/>
              <a:cxnLst>
                <a:cxn ang="0">
                  <a:pos x="wd2" y="hd2"/>
                </a:cxn>
                <a:cxn ang="5400000">
                  <a:pos x="wd2" y="hd2"/>
                </a:cxn>
                <a:cxn ang="10800000">
                  <a:pos x="wd2" y="hd2"/>
                </a:cxn>
                <a:cxn ang="16200000">
                  <a:pos x="wd2" y="hd2"/>
                </a:cxn>
              </a:cxnLst>
              <a:rect l="0" t="0" r="r" b="b"/>
              <a:pathLst>
                <a:path w="21600" h="21600" extrusionOk="0">
                  <a:moveTo>
                    <a:pt x="0" y="184"/>
                  </a:moveTo>
                  <a:lnTo>
                    <a:pt x="993" y="0"/>
                  </a:lnTo>
                  <a:lnTo>
                    <a:pt x="1986" y="598"/>
                  </a:lnTo>
                  <a:lnTo>
                    <a:pt x="2816" y="1157"/>
                  </a:lnTo>
                  <a:lnTo>
                    <a:pt x="4289" y="1420"/>
                  </a:lnTo>
                  <a:lnTo>
                    <a:pt x="5451" y="2210"/>
                  </a:lnTo>
                  <a:lnTo>
                    <a:pt x="5555" y="3015"/>
                  </a:lnTo>
                  <a:lnTo>
                    <a:pt x="6776" y="3171"/>
                  </a:lnTo>
                  <a:lnTo>
                    <a:pt x="7274" y="4172"/>
                  </a:lnTo>
                  <a:lnTo>
                    <a:pt x="7521" y="5067"/>
                  </a:lnTo>
                  <a:lnTo>
                    <a:pt x="8703" y="5646"/>
                  </a:lnTo>
                  <a:lnTo>
                    <a:pt x="10010" y="6313"/>
                  </a:lnTo>
                  <a:lnTo>
                    <a:pt x="11379" y="7204"/>
                  </a:lnTo>
                  <a:lnTo>
                    <a:pt x="13037" y="8026"/>
                  </a:lnTo>
                  <a:lnTo>
                    <a:pt x="14033" y="8799"/>
                  </a:lnTo>
                  <a:lnTo>
                    <a:pt x="14551" y="9185"/>
                  </a:lnTo>
                  <a:lnTo>
                    <a:pt x="15132" y="9746"/>
                  </a:lnTo>
                  <a:lnTo>
                    <a:pt x="15630" y="10424"/>
                  </a:lnTo>
                  <a:lnTo>
                    <a:pt x="15570" y="11405"/>
                  </a:lnTo>
                  <a:lnTo>
                    <a:pt x="15570" y="12087"/>
                  </a:lnTo>
                  <a:lnTo>
                    <a:pt x="16649" y="12471"/>
                  </a:lnTo>
                  <a:lnTo>
                    <a:pt x="17617" y="13079"/>
                  </a:lnTo>
                  <a:lnTo>
                    <a:pt x="17866" y="14746"/>
                  </a:lnTo>
                  <a:lnTo>
                    <a:pt x="19276" y="15306"/>
                  </a:lnTo>
                  <a:lnTo>
                    <a:pt x="20065" y="16197"/>
                  </a:lnTo>
                  <a:lnTo>
                    <a:pt x="20874" y="16512"/>
                  </a:lnTo>
                  <a:lnTo>
                    <a:pt x="21247" y="17881"/>
                  </a:lnTo>
                  <a:lnTo>
                    <a:pt x="21600" y="18880"/>
                  </a:lnTo>
                  <a:lnTo>
                    <a:pt x="20980" y="20073"/>
                  </a:lnTo>
                  <a:lnTo>
                    <a:pt x="19738" y="21284"/>
                  </a:lnTo>
                  <a:lnTo>
                    <a:pt x="18825" y="21600"/>
                  </a:lnTo>
                  <a:lnTo>
                    <a:pt x="17920" y="20918"/>
                  </a:lnTo>
                  <a:lnTo>
                    <a:pt x="16761" y="20657"/>
                  </a:lnTo>
                  <a:lnTo>
                    <a:pt x="16221" y="20130"/>
                  </a:lnTo>
                  <a:lnTo>
                    <a:pt x="15871" y="19375"/>
                  </a:lnTo>
                  <a:lnTo>
                    <a:pt x="14730" y="18518"/>
                  </a:lnTo>
                  <a:lnTo>
                    <a:pt x="12845" y="16958"/>
                  </a:lnTo>
                  <a:cubicBezTo>
                    <a:pt x="12017" y="16567"/>
                    <a:pt x="11468" y="15860"/>
                    <a:pt x="11372" y="15062"/>
                  </a:cubicBezTo>
                  <a:cubicBezTo>
                    <a:pt x="11299" y="14464"/>
                    <a:pt x="11495" y="13846"/>
                    <a:pt x="11270" y="13272"/>
                  </a:cubicBezTo>
                  <a:cubicBezTo>
                    <a:pt x="11040" y="12683"/>
                    <a:pt x="10437" y="12286"/>
                    <a:pt x="9880" y="11886"/>
                  </a:cubicBezTo>
                  <a:cubicBezTo>
                    <a:pt x="9302" y="11470"/>
                    <a:pt x="8755" y="11024"/>
                    <a:pt x="8241" y="10552"/>
                  </a:cubicBezTo>
                  <a:lnTo>
                    <a:pt x="7806" y="8674"/>
                  </a:lnTo>
                  <a:lnTo>
                    <a:pt x="6997" y="7096"/>
                  </a:lnTo>
                  <a:lnTo>
                    <a:pt x="5321" y="5752"/>
                  </a:lnTo>
                  <a:lnTo>
                    <a:pt x="3277" y="4023"/>
                  </a:lnTo>
                  <a:lnTo>
                    <a:pt x="2077" y="3410"/>
                  </a:lnTo>
                  <a:lnTo>
                    <a:pt x="505" y="1818"/>
                  </a:lnTo>
                  <a:lnTo>
                    <a:pt x="256" y="1168"/>
                  </a:lnTo>
                  <a:lnTo>
                    <a:pt x="0" y="184"/>
                  </a:lnTo>
                  <a:close/>
                </a:path>
              </a:pathLst>
            </a:custGeom>
            <a:grpFill/>
            <a:ln w="25400" cap="flat">
              <a:noFill/>
              <a:prstDash val="solid"/>
              <a:miter lim="400000"/>
            </a:ln>
            <a:effectLst/>
          </p:spPr>
          <p:txBody>
            <a:bodyPr anchor="ctr"/>
            <a:lstStyle/>
            <a:p>
              <a:pPr algn="ctr"/>
              <a:endParaRPr/>
            </a:p>
          </p:txBody>
        </p:sp>
        <p:sp>
          <p:nvSpPr>
            <p:cNvPr id="111" name="iş1iḑè">
              <a:extLst>
                <a:ext uri="{FF2B5EF4-FFF2-40B4-BE49-F238E27FC236}">
                  <a16:creationId xmlns:a16="http://schemas.microsoft.com/office/drawing/2014/main" id="{53C804A7-A680-43FA-9A02-53BA97E175F4}"/>
                </a:ext>
              </a:extLst>
            </p:cNvPr>
            <p:cNvSpPr/>
            <p:nvPr/>
          </p:nvSpPr>
          <p:spPr>
            <a:xfrm>
              <a:off x="8199229" y="3742697"/>
              <a:ext cx="76119" cy="114668"/>
            </a:xfrm>
            <a:custGeom>
              <a:avLst/>
              <a:gdLst/>
              <a:ahLst/>
              <a:cxnLst>
                <a:cxn ang="0">
                  <a:pos x="wd2" y="hd2"/>
                </a:cxn>
                <a:cxn ang="5400000">
                  <a:pos x="wd2" y="hd2"/>
                </a:cxn>
                <a:cxn ang="10800000">
                  <a:pos x="wd2" y="hd2"/>
                </a:cxn>
                <a:cxn ang="16200000">
                  <a:pos x="wd2" y="hd2"/>
                </a:cxn>
              </a:cxnLst>
              <a:rect l="0" t="0" r="r" b="b"/>
              <a:pathLst>
                <a:path w="21600" h="21600" extrusionOk="0">
                  <a:moveTo>
                    <a:pt x="4600" y="0"/>
                  </a:moveTo>
                  <a:lnTo>
                    <a:pt x="8713" y="182"/>
                  </a:lnTo>
                  <a:lnTo>
                    <a:pt x="10921" y="4429"/>
                  </a:lnTo>
                  <a:lnTo>
                    <a:pt x="14685" y="8044"/>
                  </a:lnTo>
                  <a:lnTo>
                    <a:pt x="18425" y="9946"/>
                  </a:lnTo>
                  <a:lnTo>
                    <a:pt x="21600" y="14767"/>
                  </a:lnTo>
                  <a:lnTo>
                    <a:pt x="19964" y="17676"/>
                  </a:lnTo>
                  <a:lnTo>
                    <a:pt x="13230" y="21600"/>
                  </a:lnTo>
                  <a:lnTo>
                    <a:pt x="5665" y="20649"/>
                  </a:lnTo>
                  <a:lnTo>
                    <a:pt x="3657" y="18389"/>
                  </a:lnTo>
                  <a:lnTo>
                    <a:pt x="2585" y="13196"/>
                  </a:lnTo>
                  <a:lnTo>
                    <a:pt x="0" y="7869"/>
                  </a:lnTo>
                  <a:lnTo>
                    <a:pt x="285" y="4698"/>
                  </a:lnTo>
                  <a:lnTo>
                    <a:pt x="4600" y="0"/>
                  </a:lnTo>
                  <a:close/>
                </a:path>
              </a:pathLst>
            </a:custGeom>
            <a:grpFill/>
            <a:ln w="25400" cap="flat">
              <a:noFill/>
              <a:prstDash val="solid"/>
              <a:miter lim="400000"/>
            </a:ln>
            <a:effectLst/>
          </p:spPr>
          <p:txBody>
            <a:bodyPr anchor="ctr"/>
            <a:lstStyle/>
            <a:p>
              <a:pPr algn="ctr"/>
              <a:endParaRPr/>
            </a:p>
          </p:txBody>
        </p:sp>
        <p:sp>
          <p:nvSpPr>
            <p:cNvPr id="112" name="iŝḻîḋe">
              <a:extLst>
                <a:ext uri="{FF2B5EF4-FFF2-40B4-BE49-F238E27FC236}">
                  <a16:creationId xmlns:a16="http://schemas.microsoft.com/office/drawing/2014/main" id="{BEBAEDB5-8AEE-486E-99EE-E91DDEF52B2D}"/>
                </a:ext>
              </a:extLst>
            </p:cNvPr>
            <p:cNvSpPr/>
            <p:nvPr/>
          </p:nvSpPr>
          <p:spPr>
            <a:xfrm>
              <a:off x="7957224" y="3867942"/>
              <a:ext cx="20203" cy="24844"/>
            </a:xfrm>
            <a:custGeom>
              <a:avLst/>
              <a:gdLst/>
              <a:ahLst/>
              <a:cxnLst>
                <a:cxn ang="0">
                  <a:pos x="wd2" y="hd2"/>
                </a:cxn>
                <a:cxn ang="5400000">
                  <a:pos x="wd2" y="hd2"/>
                </a:cxn>
                <a:cxn ang="10800000">
                  <a:pos x="wd2" y="hd2"/>
                </a:cxn>
                <a:cxn ang="16200000">
                  <a:pos x="wd2" y="hd2"/>
                </a:cxn>
              </a:cxnLst>
              <a:rect l="0" t="0" r="r" b="b"/>
              <a:pathLst>
                <a:path w="21600" h="21600" extrusionOk="0">
                  <a:moveTo>
                    <a:pt x="8606" y="3000"/>
                  </a:moveTo>
                  <a:lnTo>
                    <a:pt x="21600" y="0"/>
                  </a:lnTo>
                  <a:lnTo>
                    <a:pt x="18445" y="10511"/>
                  </a:lnTo>
                  <a:lnTo>
                    <a:pt x="15227" y="21600"/>
                  </a:lnTo>
                  <a:lnTo>
                    <a:pt x="0" y="20686"/>
                  </a:lnTo>
                  <a:lnTo>
                    <a:pt x="8606" y="3000"/>
                  </a:lnTo>
                  <a:close/>
                </a:path>
              </a:pathLst>
            </a:custGeom>
            <a:grpFill/>
            <a:ln w="25400" cap="flat">
              <a:noFill/>
              <a:prstDash val="solid"/>
              <a:miter lim="400000"/>
            </a:ln>
            <a:effectLst/>
          </p:spPr>
          <p:txBody>
            <a:bodyPr anchor="ctr"/>
            <a:lstStyle/>
            <a:p>
              <a:pPr algn="ctr"/>
              <a:endParaRPr/>
            </a:p>
          </p:txBody>
        </p:sp>
        <p:sp>
          <p:nvSpPr>
            <p:cNvPr id="113" name="ïṡļíḍê">
              <a:extLst>
                <a:ext uri="{FF2B5EF4-FFF2-40B4-BE49-F238E27FC236}">
                  <a16:creationId xmlns:a16="http://schemas.microsoft.com/office/drawing/2014/main" id="{E3E8C13C-7ECE-4FC7-9598-40707A6FC8C2}"/>
                </a:ext>
              </a:extLst>
            </p:cNvPr>
            <p:cNvSpPr/>
            <p:nvPr/>
          </p:nvSpPr>
          <p:spPr>
            <a:xfrm>
              <a:off x="7953865" y="3917350"/>
              <a:ext cx="21543" cy="20151"/>
            </a:xfrm>
            <a:custGeom>
              <a:avLst/>
              <a:gdLst/>
              <a:ahLst/>
              <a:cxnLst>
                <a:cxn ang="0">
                  <a:pos x="wd2" y="hd2"/>
                </a:cxn>
                <a:cxn ang="5400000">
                  <a:pos x="wd2" y="hd2"/>
                </a:cxn>
                <a:cxn ang="10800000">
                  <a:pos x="wd2" y="hd2"/>
                </a:cxn>
                <a:cxn ang="16200000">
                  <a:pos x="wd2" y="hd2"/>
                </a:cxn>
              </a:cxnLst>
              <a:rect l="0" t="0" r="r" b="b"/>
              <a:pathLst>
                <a:path w="21600" h="21600" extrusionOk="0">
                  <a:moveTo>
                    <a:pt x="10494" y="0"/>
                  </a:moveTo>
                  <a:lnTo>
                    <a:pt x="0" y="8708"/>
                  </a:lnTo>
                  <a:lnTo>
                    <a:pt x="11400" y="21600"/>
                  </a:lnTo>
                  <a:lnTo>
                    <a:pt x="21600" y="9737"/>
                  </a:lnTo>
                  <a:lnTo>
                    <a:pt x="10494" y="0"/>
                  </a:lnTo>
                  <a:close/>
                </a:path>
              </a:pathLst>
            </a:custGeom>
            <a:grpFill/>
            <a:ln w="25400" cap="flat">
              <a:noFill/>
              <a:prstDash val="solid"/>
              <a:miter lim="400000"/>
            </a:ln>
            <a:effectLst/>
          </p:spPr>
          <p:txBody>
            <a:bodyPr anchor="ctr"/>
            <a:lstStyle/>
            <a:p>
              <a:pPr algn="ctr"/>
              <a:endParaRPr/>
            </a:p>
          </p:txBody>
        </p:sp>
        <p:sp>
          <p:nvSpPr>
            <p:cNvPr id="114" name="îsḷïḑè">
              <a:extLst>
                <a:ext uri="{FF2B5EF4-FFF2-40B4-BE49-F238E27FC236}">
                  <a16:creationId xmlns:a16="http://schemas.microsoft.com/office/drawing/2014/main" id="{7EA79E5C-B6D5-4EA2-A600-08A2675C5F06}"/>
                </a:ext>
              </a:extLst>
            </p:cNvPr>
            <p:cNvSpPr/>
            <p:nvPr/>
          </p:nvSpPr>
          <p:spPr>
            <a:xfrm>
              <a:off x="7931635" y="3837005"/>
              <a:ext cx="18834" cy="20358"/>
            </a:xfrm>
            <a:custGeom>
              <a:avLst/>
              <a:gdLst/>
              <a:ahLst/>
              <a:cxnLst>
                <a:cxn ang="0">
                  <a:pos x="wd2" y="hd2"/>
                </a:cxn>
                <a:cxn ang="5400000">
                  <a:pos x="wd2" y="hd2"/>
                </a:cxn>
                <a:cxn ang="10800000">
                  <a:pos x="wd2" y="hd2"/>
                </a:cxn>
                <a:cxn ang="16200000">
                  <a:pos x="wd2" y="hd2"/>
                </a:cxn>
              </a:cxnLst>
              <a:rect l="0" t="0" r="r" b="b"/>
              <a:pathLst>
                <a:path w="21600" h="21600" extrusionOk="0">
                  <a:moveTo>
                    <a:pt x="11886" y="0"/>
                  </a:moveTo>
                  <a:lnTo>
                    <a:pt x="0" y="12052"/>
                  </a:lnTo>
                  <a:lnTo>
                    <a:pt x="10759" y="21600"/>
                  </a:lnTo>
                  <a:lnTo>
                    <a:pt x="21600" y="9540"/>
                  </a:lnTo>
                  <a:lnTo>
                    <a:pt x="11886" y="0"/>
                  </a:lnTo>
                  <a:close/>
                </a:path>
              </a:pathLst>
            </a:custGeom>
            <a:grpFill/>
            <a:ln w="25400" cap="flat">
              <a:noFill/>
              <a:prstDash val="solid"/>
              <a:miter lim="400000"/>
            </a:ln>
            <a:effectLst/>
          </p:spPr>
          <p:txBody>
            <a:bodyPr anchor="ctr"/>
            <a:lstStyle/>
            <a:p>
              <a:pPr algn="ctr"/>
              <a:endParaRPr/>
            </a:p>
          </p:txBody>
        </p:sp>
        <p:sp>
          <p:nvSpPr>
            <p:cNvPr id="115" name="îślïḍe">
              <a:extLst>
                <a:ext uri="{FF2B5EF4-FFF2-40B4-BE49-F238E27FC236}">
                  <a16:creationId xmlns:a16="http://schemas.microsoft.com/office/drawing/2014/main" id="{6EBD2D99-4087-413C-AF36-050ADAB78755}"/>
                </a:ext>
              </a:extLst>
            </p:cNvPr>
            <p:cNvSpPr/>
            <p:nvPr/>
          </p:nvSpPr>
          <p:spPr>
            <a:xfrm>
              <a:off x="7171214" y="3107084"/>
              <a:ext cx="22347" cy="31175"/>
            </a:xfrm>
            <a:custGeom>
              <a:avLst/>
              <a:gdLst/>
              <a:ahLst/>
              <a:cxnLst>
                <a:cxn ang="0">
                  <a:pos x="wd2" y="hd2"/>
                </a:cxn>
                <a:cxn ang="5400000">
                  <a:pos x="wd2" y="hd2"/>
                </a:cxn>
                <a:cxn ang="10800000">
                  <a:pos x="wd2" y="hd2"/>
                </a:cxn>
                <a:cxn ang="16200000">
                  <a:pos x="wd2" y="hd2"/>
                </a:cxn>
              </a:cxnLst>
              <a:rect l="0" t="0" r="r" b="b"/>
              <a:pathLst>
                <a:path w="21600" h="21600" extrusionOk="0">
                  <a:moveTo>
                    <a:pt x="18226" y="0"/>
                  </a:moveTo>
                  <a:lnTo>
                    <a:pt x="0" y="6738"/>
                  </a:lnTo>
                  <a:lnTo>
                    <a:pt x="6059" y="21600"/>
                  </a:lnTo>
                  <a:lnTo>
                    <a:pt x="21600" y="18596"/>
                  </a:lnTo>
                  <a:lnTo>
                    <a:pt x="18226" y="0"/>
                  </a:lnTo>
                  <a:close/>
                </a:path>
              </a:pathLst>
            </a:custGeom>
            <a:grpFill/>
            <a:ln w="25400" cap="flat">
              <a:noFill/>
              <a:prstDash val="solid"/>
              <a:miter lim="400000"/>
            </a:ln>
            <a:effectLst/>
          </p:spPr>
          <p:txBody>
            <a:bodyPr anchor="ctr"/>
            <a:lstStyle/>
            <a:p>
              <a:pPr algn="ctr"/>
              <a:endParaRPr/>
            </a:p>
          </p:txBody>
        </p:sp>
        <p:sp>
          <p:nvSpPr>
            <p:cNvPr id="116" name="ïsļíḑê">
              <a:extLst>
                <a:ext uri="{FF2B5EF4-FFF2-40B4-BE49-F238E27FC236}">
                  <a16:creationId xmlns:a16="http://schemas.microsoft.com/office/drawing/2014/main" id="{27405B08-41EC-469F-9449-89A8044883A7}"/>
                </a:ext>
              </a:extLst>
            </p:cNvPr>
            <p:cNvSpPr/>
            <p:nvPr/>
          </p:nvSpPr>
          <p:spPr>
            <a:xfrm>
              <a:off x="6561284" y="2785626"/>
              <a:ext cx="67222" cy="44468"/>
            </a:xfrm>
            <a:custGeom>
              <a:avLst/>
              <a:gdLst/>
              <a:ahLst/>
              <a:cxnLst>
                <a:cxn ang="0">
                  <a:pos x="wd2" y="hd2"/>
                </a:cxn>
                <a:cxn ang="5400000">
                  <a:pos x="wd2" y="hd2"/>
                </a:cxn>
                <a:cxn ang="10800000">
                  <a:pos x="wd2" y="hd2"/>
                </a:cxn>
                <a:cxn ang="16200000">
                  <a:pos x="wd2" y="hd2"/>
                </a:cxn>
              </a:cxnLst>
              <a:rect l="0" t="0" r="r" b="b"/>
              <a:pathLst>
                <a:path w="21600" h="21600" extrusionOk="0">
                  <a:moveTo>
                    <a:pt x="16119" y="0"/>
                  </a:moveTo>
                  <a:lnTo>
                    <a:pt x="12851" y="4376"/>
                  </a:lnTo>
                  <a:lnTo>
                    <a:pt x="8517" y="6430"/>
                  </a:lnTo>
                  <a:lnTo>
                    <a:pt x="671" y="5939"/>
                  </a:lnTo>
                  <a:lnTo>
                    <a:pt x="0" y="12809"/>
                  </a:lnTo>
                  <a:lnTo>
                    <a:pt x="3338" y="16202"/>
                  </a:lnTo>
                  <a:lnTo>
                    <a:pt x="10189" y="21600"/>
                  </a:lnTo>
                  <a:lnTo>
                    <a:pt x="13007" y="15425"/>
                  </a:lnTo>
                  <a:lnTo>
                    <a:pt x="16167" y="10356"/>
                  </a:lnTo>
                  <a:lnTo>
                    <a:pt x="19327" y="7105"/>
                  </a:lnTo>
                  <a:lnTo>
                    <a:pt x="21600" y="1381"/>
                  </a:lnTo>
                  <a:lnTo>
                    <a:pt x="16119" y="0"/>
                  </a:lnTo>
                  <a:close/>
                </a:path>
              </a:pathLst>
            </a:custGeom>
            <a:grpFill/>
            <a:ln w="25400" cap="flat">
              <a:noFill/>
              <a:prstDash val="solid"/>
              <a:miter lim="400000"/>
            </a:ln>
            <a:effectLst/>
          </p:spPr>
          <p:txBody>
            <a:bodyPr anchor="ctr"/>
            <a:lstStyle/>
            <a:p>
              <a:pPr algn="ctr"/>
              <a:endParaRPr/>
            </a:p>
          </p:txBody>
        </p:sp>
        <p:sp>
          <p:nvSpPr>
            <p:cNvPr id="117" name="îŝḷïḑe">
              <a:extLst>
                <a:ext uri="{FF2B5EF4-FFF2-40B4-BE49-F238E27FC236}">
                  <a16:creationId xmlns:a16="http://schemas.microsoft.com/office/drawing/2014/main" id="{499FA2FE-FE32-422E-B93C-7E4004E4575B}"/>
                </a:ext>
              </a:extLst>
            </p:cNvPr>
            <p:cNvSpPr/>
            <p:nvPr/>
          </p:nvSpPr>
          <p:spPr>
            <a:xfrm>
              <a:off x="5255087" y="1585911"/>
              <a:ext cx="2042366" cy="1189722"/>
            </a:xfrm>
            <a:custGeom>
              <a:avLst/>
              <a:gdLst/>
              <a:ahLst/>
              <a:cxnLst>
                <a:cxn ang="0">
                  <a:pos x="wd2" y="hd2"/>
                </a:cxn>
                <a:cxn ang="5400000">
                  <a:pos x="wd2" y="hd2"/>
                </a:cxn>
                <a:cxn ang="10800000">
                  <a:pos x="wd2" y="hd2"/>
                </a:cxn>
                <a:cxn ang="16200000">
                  <a:pos x="wd2" y="hd2"/>
                </a:cxn>
              </a:cxnLst>
              <a:rect l="0" t="0" r="r" b="b"/>
              <a:pathLst>
                <a:path w="21600" h="21600" extrusionOk="0">
                  <a:moveTo>
                    <a:pt x="20807" y="1150"/>
                  </a:moveTo>
                  <a:lnTo>
                    <a:pt x="20140" y="892"/>
                  </a:lnTo>
                  <a:lnTo>
                    <a:pt x="19827" y="747"/>
                  </a:lnTo>
                  <a:lnTo>
                    <a:pt x="19506" y="542"/>
                  </a:lnTo>
                  <a:lnTo>
                    <a:pt x="19194" y="459"/>
                  </a:lnTo>
                  <a:lnTo>
                    <a:pt x="18976" y="267"/>
                  </a:lnTo>
                  <a:lnTo>
                    <a:pt x="18803" y="212"/>
                  </a:lnTo>
                  <a:lnTo>
                    <a:pt x="18690" y="293"/>
                  </a:lnTo>
                  <a:lnTo>
                    <a:pt x="18482" y="457"/>
                  </a:lnTo>
                  <a:lnTo>
                    <a:pt x="18589" y="626"/>
                  </a:lnTo>
                  <a:lnTo>
                    <a:pt x="18799" y="626"/>
                  </a:lnTo>
                  <a:lnTo>
                    <a:pt x="18944" y="749"/>
                  </a:lnTo>
                  <a:lnTo>
                    <a:pt x="19057" y="799"/>
                  </a:lnTo>
                  <a:lnTo>
                    <a:pt x="19162" y="663"/>
                  </a:lnTo>
                  <a:lnTo>
                    <a:pt x="19282" y="649"/>
                  </a:lnTo>
                  <a:lnTo>
                    <a:pt x="19425" y="814"/>
                  </a:lnTo>
                  <a:lnTo>
                    <a:pt x="19336" y="1164"/>
                  </a:lnTo>
                  <a:lnTo>
                    <a:pt x="19232" y="1314"/>
                  </a:lnTo>
                  <a:lnTo>
                    <a:pt x="19042" y="1149"/>
                  </a:lnTo>
                  <a:lnTo>
                    <a:pt x="18875" y="1149"/>
                  </a:lnTo>
                  <a:lnTo>
                    <a:pt x="18733" y="1250"/>
                  </a:lnTo>
                  <a:lnTo>
                    <a:pt x="18426" y="1346"/>
                  </a:lnTo>
                  <a:lnTo>
                    <a:pt x="18234" y="1428"/>
                  </a:lnTo>
                  <a:lnTo>
                    <a:pt x="18001" y="1483"/>
                  </a:lnTo>
                  <a:lnTo>
                    <a:pt x="17885" y="1455"/>
                  </a:lnTo>
                  <a:lnTo>
                    <a:pt x="17764" y="1282"/>
                  </a:lnTo>
                  <a:lnTo>
                    <a:pt x="17591" y="1204"/>
                  </a:lnTo>
                  <a:lnTo>
                    <a:pt x="17472" y="1218"/>
                  </a:lnTo>
                  <a:lnTo>
                    <a:pt x="17205" y="1314"/>
                  </a:lnTo>
                  <a:lnTo>
                    <a:pt x="16942" y="1479"/>
                  </a:lnTo>
                  <a:lnTo>
                    <a:pt x="16671" y="1671"/>
                  </a:lnTo>
                  <a:lnTo>
                    <a:pt x="16451" y="1882"/>
                  </a:lnTo>
                  <a:lnTo>
                    <a:pt x="16191" y="2147"/>
                  </a:lnTo>
                  <a:lnTo>
                    <a:pt x="16038" y="2203"/>
                  </a:lnTo>
                  <a:lnTo>
                    <a:pt x="15932" y="2029"/>
                  </a:lnTo>
                  <a:lnTo>
                    <a:pt x="15829" y="1988"/>
                  </a:lnTo>
                  <a:lnTo>
                    <a:pt x="15732" y="1892"/>
                  </a:lnTo>
                  <a:lnTo>
                    <a:pt x="15762" y="1710"/>
                  </a:lnTo>
                  <a:lnTo>
                    <a:pt x="15657" y="1417"/>
                  </a:lnTo>
                  <a:lnTo>
                    <a:pt x="15517" y="1390"/>
                  </a:lnTo>
                  <a:lnTo>
                    <a:pt x="15378" y="1390"/>
                  </a:lnTo>
                  <a:lnTo>
                    <a:pt x="15253" y="1481"/>
                  </a:lnTo>
                  <a:lnTo>
                    <a:pt x="15278" y="1641"/>
                  </a:lnTo>
                  <a:lnTo>
                    <a:pt x="15392" y="1819"/>
                  </a:lnTo>
                  <a:lnTo>
                    <a:pt x="15384" y="1998"/>
                  </a:lnTo>
                  <a:lnTo>
                    <a:pt x="15457" y="2135"/>
                  </a:lnTo>
                  <a:lnTo>
                    <a:pt x="15449" y="2313"/>
                  </a:lnTo>
                  <a:lnTo>
                    <a:pt x="15372" y="2418"/>
                  </a:lnTo>
                  <a:lnTo>
                    <a:pt x="15165" y="2528"/>
                  </a:lnTo>
                  <a:lnTo>
                    <a:pt x="14864" y="2652"/>
                  </a:lnTo>
                  <a:lnTo>
                    <a:pt x="14558" y="2802"/>
                  </a:lnTo>
                  <a:lnTo>
                    <a:pt x="14501" y="2964"/>
                  </a:lnTo>
                  <a:lnTo>
                    <a:pt x="14580" y="3129"/>
                  </a:lnTo>
                  <a:lnTo>
                    <a:pt x="14535" y="3260"/>
                  </a:lnTo>
                  <a:lnTo>
                    <a:pt x="14301" y="3357"/>
                  </a:lnTo>
                  <a:lnTo>
                    <a:pt x="14167" y="3571"/>
                  </a:lnTo>
                  <a:lnTo>
                    <a:pt x="14002" y="3383"/>
                  </a:lnTo>
                  <a:lnTo>
                    <a:pt x="13882" y="3233"/>
                  </a:lnTo>
                  <a:lnTo>
                    <a:pt x="13736" y="3151"/>
                  </a:lnTo>
                  <a:lnTo>
                    <a:pt x="13601" y="3165"/>
                  </a:lnTo>
                  <a:lnTo>
                    <a:pt x="13544" y="3303"/>
                  </a:lnTo>
                  <a:lnTo>
                    <a:pt x="13684" y="3412"/>
                  </a:lnTo>
                  <a:lnTo>
                    <a:pt x="13810" y="3412"/>
                  </a:lnTo>
                  <a:lnTo>
                    <a:pt x="13898" y="3509"/>
                  </a:lnTo>
                  <a:lnTo>
                    <a:pt x="13968" y="3600"/>
                  </a:lnTo>
                  <a:lnTo>
                    <a:pt x="14044" y="3723"/>
                  </a:lnTo>
                  <a:lnTo>
                    <a:pt x="13921" y="3938"/>
                  </a:lnTo>
                  <a:lnTo>
                    <a:pt x="13743" y="3952"/>
                  </a:lnTo>
                  <a:lnTo>
                    <a:pt x="13682" y="4102"/>
                  </a:lnTo>
                  <a:lnTo>
                    <a:pt x="13545" y="4125"/>
                  </a:lnTo>
                  <a:lnTo>
                    <a:pt x="13425" y="3918"/>
                  </a:lnTo>
                  <a:lnTo>
                    <a:pt x="13296" y="3768"/>
                  </a:lnTo>
                  <a:lnTo>
                    <a:pt x="13175" y="3714"/>
                  </a:lnTo>
                  <a:lnTo>
                    <a:pt x="13055" y="3663"/>
                  </a:lnTo>
                  <a:lnTo>
                    <a:pt x="12975" y="3430"/>
                  </a:lnTo>
                  <a:lnTo>
                    <a:pt x="12892" y="3238"/>
                  </a:lnTo>
                  <a:lnTo>
                    <a:pt x="12851" y="3047"/>
                  </a:lnTo>
                  <a:lnTo>
                    <a:pt x="12766" y="2877"/>
                  </a:lnTo>
                  <a:lnTo>
                    <a:pt x="12599" y="2739"/>
                  </a:lnTo>
                  <a:lnTo>
                    <a:pt x="12494" y="2631"/>
                  </a:lnTo>
                  <a:lnTo>
                    <a:pt x="12368" y="2420"/>
                  </a:lnTo>
                  <a:lnTo>
                    <a:pt x="12304" y="2245"/>
                  </a:lnTo>
                  <a:lnTo>
                    <a:pt x="12377" y="2017"/>
                  </a:lnTo>
                  <a:lnTo>
                    <a:pt x="12699" y="2003"/>
                  </a:lnTo>
                  <a:cubicBezTo>
                    <a:pt x="12738" y="2035"/>
                    <a:pt x="12777" y="2063"/>
                    <a:pt x="12817" y="2090"/>
                  </a:cubicBezTo>
                  <a:cubicBezTo>
                    <a:pt x="12952" y="2178"/>
                    <a:pt x="13094" y="2236"/>
                    <a:pt x="13239" y="2259"/>
                  </a:cubicBezTo>
                  <a:lnTo>
                    <a:pt x="13399" y="2479"/>
                  </a:lnTo>
                  <a:lnTo>
                    <a:pt x="13603" y="2506"/>
                  </a:lnTo>
                  <a:lnTo>
                    <a:pt x="13797" y="2506"/>
                  </a:lnTo>
                  <a:cubicBezTo>
                    <a:pt x="13873" y="2506"/>
                    <a:pt x="13949" y="2506"/>
                    <a:pt x="14025" y="2506"/>
                  </a:cubicBezTo>
                  <a:cubicBezTo>
                    <a:pt x="14058" y="2506"/>
                    <a:pt x="14090" y="2506"/>
                    <a:pt x="14122" y="2506"/>
                  </a:cubicBezTo>
                  <a:lnTo>
                    <a:pt x="14251" y="2356"/>
                  </a:lnTo>
                  <a:lnTo>
                    <a:pt x="14347" y="2302"/>
                  </a:lnTo>
                  <a:lnTo>
                    <a:pt x="14484" y="2237"/>
                  </a:lnTo>
                  <a:lnTo>
                    <a:pt x="14616" y="2210"/>
                  </a:lnTo>
                  <a:lnTo>
                    <a:pt x="14613" y="2040"/>
                  </a:lnTo>
                  <a:lnTo>
                    <a:pt x="14460" y="1889"/>
                  </a:lnTo>
                  <a:lnTo>
                    <a:pt x="14355" y="1605"/>
                  </a:lnTo>
                  <a:cubicBezTo>
                    <a:pt x="14271" y="1573"/>
                    <a:pt x="14188" y="1533"/>
                    <a:pt x="14107" y="1486"/>
                  </a:cubicBezTo>
                  <a:cubicBezTo>
                    <a:pt x="14008" y="1428"/>
                    <a:pt x="13911" y="1359"/>
                    <a:pt x="13817" y="1279"/>
                  </a:cubicBezTo>
                  <a:lnTo>
                    <a:pt x="13451" y="1078"/>
                  </a:lnTo>
                  <a:lnTo>
                    <a:pt x="13212" y="945"/>
                  </a:lnTo>
                  <a:lnTo>
                    <a:pt x="12842" y="766"/>
                  </a:lnTo>
                  <a:lnTo>
                    <a:pt x="12603" y="849"/>
                  </a:lnTo>
                  <a:lnTo>
                    <a:pt x="12436" y="968"/>
                  </a:lnTo>
                  <a:lnTo>
                    <a:pt x="12291" y="899"/>
                  </a:lnTo>
                  <a:lnTo>
                    <a:pt x="12112" y="639"/>
                  </a:lnTo>
                  <a:lnTo>
                    <a:pt x="11879" y="402"/>
                  </a:lnTo>
                  <a:lnTo>
                    <a:pt x="11669" y="320"/>
                  </a:lnTo>
                  <a:lnTo>
                    <a:pt x="11486" y="252"/>
                  </a:lnTo>
                  <a:lnTo>
                    <a:pt x="11279" y="156"/>
                  </a:lnTo>
                  <a:lnTo>
                    <a:pt x="11086" y="73"/>
                  </a:lnTo>
                  <a:lnTo>
                    <a:pt x="10931" y="18"/>
                  </a:lnTo>
                  <a:lnTo>
                    <a:pt x="10715" y="114"/>
                  </a:lnTo>
                  <a:lnTo>
                    <a:pt x="10556" y="192"/>
                  </a:lnTo>
                  <a:lnTo>
                    <a:pt x="10395" y="137"/>
                  </a:lnTo>
                  <a:lnTo>
                    <a:pt x="10285" y="82"/>
                  </a:lnTo>
                  <a:lnTo>
                    <a:pt x="10146" y="27"/>
                  </a:lnTo>
                  <a:lnTo>
                    <a:pt x="10010" y="0"/>
                  </a:lnTo>
                  <a:lnTo>
                    <a:pt x="9706" y="83"/>
                  </a:lnTo>
                  <a:lnTo>
                    <a:pt x="9387" y="184"/>
                  </a:lnTo>
                  <a:lnTo>
                    <a:pt x="8981" y="564"/>
                  </a:lnTo>
                  <a:lnTo>
                    <a:pt x="8797" y="728"/>
                  </a:lnTo>
                  <a:lnTo>
                    <a:pt x="8584" y="783"/>
                  </a:lnTo>
                  <a:lnTo>
                    <a:pt x="8320" y="915"/>
                  </a:lnTo>
                  <a:lnTo>
                    <a:pt x="8160" y="996"/>
                  </a:lnTo>
                  <a:lnTo>
                    <a:pt x="7967" y="1147"/>
                  </a:lnTo>
                  <a:lnTo>
                    <a:pt x="7886" y="1297"/>
                  </a:lnTo>
                  <a:lnTo>
                    <a:pt x="7888" y="1470"/>
                  </a:lnTo>
                  <a:lnTo>
                    <a:pt x="7855" y="1675"/>
                  </a:lnTo>
                  <a:lnTo>
                    <a:pt x="7776" y="1784"/>
                  </a:lnTo>
                  <a:lnTo>
                    <a:pt x="7655" y="1839"/>
                  </a:lnTo>
                  <a:lnTo>
                    <a:pt x="7530" y="1894"/>
                  </a:lnTo>
                  <a:lnTo>
                    <a:pt x="7376" y="2183"/>
                  </a:lnTo>
                  <a:lnTo>
                    <a:pt x="7276" y="2430"/>
                  </a:lnTo>
                  <a:lnTo>
                    <a:pt x="7123" y="2673"/>
                  </a:lnTo>
                  <a:lnTo>
                    <a:pt x="7099" y="2824"/>
                  </a:lnTo>
                  <a:lnTo>
                    <a:pt x="7051" y="3056"/>
                  </a:lnTo>
                  <a:lnTo>
                    <a:pt x="6924" y="3316"/>
                  </a:lnTo>
                  <a:lnTo>
                    <a:pt x="6795" y="3550"/>
                  </a:lnTo>
                  <a:lnTo>
                    <a:pt x="6610" y="3688"/>
                  </a:lnTo>
                  <a:lnTo>
                    <a:pt x="6375" y="3930"/>
                  </a:lnTo>
                  <a:lnTo>
                    <a:pt x="6295" y="4053"/>
                  </a:lnTo>
                  <a:lnTo>
                    <a:pt x="6207" y="4241"/>
                  </a:lnTo>
                  <a:lnTo>
                    <a:pt x="6072" y="4323"/>
                  </a:lnTo>
                  <a:lnTo>
                    <a:pt x="5796" y="4429"/>
                  </a:lnTo>
                  <a:lnTo>
                    <a:pt x="5615" y="4524"/>
                  </a:lnTo>
                  <a:lnTo>
                    <a:pt x="5511" y="4647"/>
                  </a:lnTo>
                  <a:lnTo>
                    <a:pt x="5386" y="4780"/>
                  </a:lnTo>
                  <a:lnTo>
                    <a:pt x="5249" y="4999"/>
                  </a:lnTo>
                  <a:lnTo>
                    <a:pt x="5158" y="5155"/>
                  </a:lnTo>
                  <a:lnTo>
                    <a:pt x="5088" y="5329"/>
                  </a:lnTo>
                  <a:lnTo>
                    <a:pt x="5065" y="5480"/>
                  </a:lnTo>
                  <a:lnTo>
                    <a:pt x="5065" y="5754"/>
                  </a:lnTo>
                  <a:lnTo>
                    <a:pt x="5089" y="5900"/>
                  </a:lnTo>
                  <a:lnTo>
                    <a:pt x="5118" y="6123"/>
                  </a:lnTo>
                  <a:lnTo>
                    <a:pt x="5094" y="6315"/>
                  </a:lnTo>
                  <a:lnTo>
                    <a:pt x="5118" y="6590"/>
                  </a:lnTo>
                  <a:lnTo>
                    <a:pt x="5312" y="6948"/>
                  </a:lnTo>
                  <a:lnTo>
                    <a:pt x="5497" y="7278"/>
                  </a:lnTo>
                  <a:lnTo>
                    <a:pt x="5698" y="7360"/>
                  </a:lnTo>
                  <a:lnTo>
                    <a:pt x="6010" y="7347"/>
                  </a:lnTo>
                  <a:lnTo>
                    <a:pt x="6179" y="7123"/>
                  </a:lnTo>
                  <a:lnTo>
                    <a:pt x="6421" y="6806"/>
                  </a:lnTo>
                  <a:lnTo>
                    <a:pt x="6673" y="6770"/>
                  </a:lnTo>
                  <a:lnTo>
                    <a:pt x="6722" y="7029"/>
                  </a:lnTo>
                  <a:lnTo>
                    <a:pt x="6859" y="7341"/>
                  </a:lnTo>
                  <a:lnTo>
                    <a:pt x="6923" y="7657"/>
                  </a:lnTo>
                  <a:lnTo>
                    <a:pt x="7026" y="7817"/>
                  </a:lnTo>
                  <a:lnTo>
                    <a:pt x="7026" y="8065"/>
                  </a:lnTo>
                  <a:lnTo>
                    <a:pt x="7034" y="8312"/>
                  </a:lnTo>
                  <a:lnTo>
                    <a:pt x="7120" y="8458"/>
                  </a:lnTo>
                  <a:lnTo>
                    <a:pt x="7192" y="8650"/>
                  </a:lnTo>
                  <a:lnTo>
                    <a:pt x="7493" y="8925"/>
                  </a:lnTo>
                  <a:lnTo>
                    <a:pt x="7581" y="8833"/>
                  </a:lnTo>
                  <a:lnTo>
                    <a:pt x="7850" y="8512"/>
                  </a:lnTo>
                  <a:lnTo>
                    <a:pt x="7962" y="8471"/>
                  </a:lnTo>
                  <a:lnTo>
                    <a:pt x="8086" y="8224"/>
                  </a:lnTo>
                  <a:lnTo>
                    <a:pt x="8142" y="7954"/>
                  </a:lnTo>
                  <a:lnTo>
                    <a:pt x="8118" y="7546"/>
                  </a:lnTo>
                  <a:lnTo>
                    <a:pt x="8183" y="7331"/>
                  </a:lnTo>
                  <a:lnTo>
                    <a:pt x="8408" y="7069"/>
                  </a:lnTo>
                  <a:lnTo>
                    <a:pt x="8596" y="6868"/>
                  </a:lnTo>
                  <a:lnTo>
                    <a:pt x="8782" y="6652"/>
                  </a:lnTo>
                  <a:lnTo>
                    <a:pt x="8870" y="6378"/>
                  </a:lnTo>
                  <a:lnTo>
                    <a:pt x="8870" y="6199"/>
                  </a:lnTo>
                  <a:lnTo>
                    <a:pt x="8675" y="6099"/>
                  </a:lnTo>
                  <a:lnTo>
                    <a:pt x="8400" y="5782"/>
                  </a:lnTo>
                  <a:cubicBezTo>
                    <a:pt x="8345" y="5725"/>
                    <a:pt x="8303" y="5638"/>
                    <a:pt x="8280" y="5535"/>
                  </a:cubicBezTo>
                  <a:cubicBezTo>
                    <a:pt x="8253" y="5415"/>
                    <a:pt x="8255" y="5284"/>
                    <a:pt x="8280" y="5163"/>
                  </a:cubicBezTo>
                  <a:cubicBezTo>
                    <a:pt x="8308" y="5024"/>
                    <a:pt x="8366" y="4907"/>
                    <a:pt x="8441" y="4834"/>
                  </a:cubicBezTo>
                  <a:cubicBezTo>
                    <a:pt x="8456" y="4723"/>
                    <a:pt x="8474" y="4613"/>
                    <a:pt x="8494" y="4505"/>
                  </a:cubicBezTo>
                  <a:cubicBezTo>
                    <a:pt x="8510" y="4424"/>
                    <a:pt x="8527" y="4342"/>
                    <a:pt x="8558" y="4276"/>
                  </a:cubicBezTo>
                  <a:cubicBezTo>
                    <a:pt x="8643" y="4100"/>
                    <a:pt x="8795" y="4075"/>
                    <a:pt x="8897" y="4221"/>
                  </a:cubicBezTo>
                  <a:cubicBezTo>
                    <a:pt x="8958" y="4155"/>
                    <a:pt x="9013" y="4077"/>
                    <a:pt x="9061" y="3987"/>
                  </a:cubicBezTo>
                  <a:cubicBezTo>
                    <a:pt x="9136" y="3848"/>
                    <a:pt x="9193" y="3684"/>
                    <a:pt x="9260" y="3534"/>
                  </a:cubicBezTo>
                  <a:cubicBezTo>
                    <a:pt x="9306" y="3430"/>
                    <a:pt x="9356" y="3332"/>
                    <a:pt x="9405" y="3232"/>
                  </a:cubicBezTo>
                  <a:cubicBezTo>
                    <a:pt x="9452" y="3137"/>
                    <a:pt x="9497" y="3041"/>
                    <a:pt x="9542" y="2943"/>
                  </a:cubicBezTo>
                  <a:lnTo>
                    <a:pt x="9832" y="2723"/>
                  </a:lnTo>
                  <a:lnTo>
                    <a:pt x="9993" y="2545"/>
                  </a:lnTo>
                  <a:lnTo>
                    <a:pt x="10111" y="2705"/>
                  </a:lnTo>
                  <a:lnTo>
                    <a:pt x="10183" y="2884"/>
                  </a:lnTo>
                  <a:lnTo>
                    <a:pt x="10183" y="3144"/>
                  </a:lnTo>
                  <a:lnTo>
                    <a:pt x="10098" y="3332"/>
                  </a:lnTo>
                  <a:lnTo>
                    <a:pt x="10098" y="3689"/>
                  </a:lnTo>
                  <a:lnTo>
                    <a:pt x="10082" y="3859"/>
                  </a:lnTo>
                  <a:lnTo>
                    <a:pt x="9930" y="3957"/>
                  </a:lnTo>
                  <a:lnTo>
                    <a:pt x="9906" y="4204"/>
                  </a:lnTo>
                  <a:lnTo>
                    <a:pt x="9849" y="4492"/>
                  </a:lnTo>
                  <a:lnTo>
                    <a:pt x="9683" y="4633"/>
                  </a:lnTo>
                  <a:lnTo>
                    <a:pt x="9586" y="4780"/>
                  </a:lnTo>
                  <a:lnTo>
                    <a:pt x="9482" y="5082"/>
                  </a:lnTo>
                  <a:lnTo>
                    <a:pt x="9514" y="5403"/>
                  </a:lnTo>
                  <a:lnTo>
                    <a:pt x="9716" y="5586"/>
                  </a:lnTo>
                  <a:cubicBezTo>
                    <a:pt x="9796" y="5549"/>
                    <a:pt x="9881" y="5586"/>
                    <a:pt x="9941" y="5682"/>
                  </a:cubicBezTo>
                  <a:cubicBezTo>
                    <a:pt x="9990" y="5760"/>
                    <a:pt x="10017" y="5871"/>
                    <a:pt x="10065" y="5951"/>
                  </a:cubicBezTo>
                  <a:cubicBezTo>
                    <a:pt x="10132" y="6062"/>
                    <a:pt x="10229" y="6103"/>
                    <a:pt x="10318" y="6056"/>
                  </a:cubicBezTo>
                  <a:lnTo>
                    <a:pt x="10508" y="6070"/>
                  </a:lnTo>
                  <a:lnTo>
                    <a:pt x="10731" y="6002"/>
                  </a:lnTo>
                  <a:lnTo>
                    <a:pt x="10946" y="5851"/>
                  </a:lnTo>
                  <a:lnTo>
                    <a:pt x="11105" y="5786"/>
                  </a:lnTo>
                  <a:lnTo>
                    <a:pt x="11391" y="5848"/>
                  </a:lnTo>
                  <a:lnTo>
                    <a:pt x="11503" y="6039"/>
                  </a:lnTo>
                  <a:lnTo>
                    <a:pt x="11785" y="6094"/>
                  </a:lnTo>
                  <a:lnTo>
                    <a:pt x="11854" y="6226"/>
                  </a:lnTo>
                  <a:lnTo>
                    <a:pt x="11801" y="6390"/>
                  </a:lnTo>
                  <a:lnTo>
                    <a:pt x="11600" y="6542"/>
                  </a:lnTo>
                  <a:lnTo>
                    <a:pt x="11427" y="6730"/>
                  </a:lnTo>
                  <a:lnTo>
                    <a:pt x="11242" y="6739"/>
                  </a:lnTo>
                  <a:lnTo>
                    <a:pt x="11084" y="6698"/>
                  </a:lnTo>
                  <a:lnTo>
                    <a:pt x="10942" y="6629"/>
                  </a:lnTo>
                  <a:lnTo>
                    <a:pt x="10752" y="6588"/>
                  </a:lnTo>
                  <a:lnTo>
                    <a:pt x="10578" y="6629"/>
                  </a:lnTo>
                  <a:lnTo>
                    <a:pt x="10435" y="6670"/>
                  </a:lnTo>
                  <a:lnTo>
                    <a:pt x="10291" y="6748"/>
                  </a:lnTo>
                  <a:lnTo>
                    <a:pt x="10218" y="6936"/>
                  </a:lnTo>
                  <a:lnTo>
                    <a:pt x="10315" y="7045"/>
                  </a:lnTo>
                  <a:lnTo>
                    <a:pt x="10580" y="7535"/>
                  </a:lnTo>
                  <a:lnTo>
                    <a:pt x="10580" y="7737"/>
                  </a:lnTo>
                  <a:lnTo>
                    <a:pt x="10500" y="7925"/>
                  </a:lnTo>
                  <a:lnTo>
                    <a:pt x="10333" y="8021"/>
                  </a:lnTo>
                  <a:lnTo>
                    <a:pt x="10285" y="8145"/>
                  </a:lnTo>
                  <a:lnTo>
                    <a:pt x="10181" y="8076"/>
                  </a:lnTo>
                  <a:lnTo>
                    <a:pt x="10133" y="7815"/>
                  </a:lnTo>
                  <a:lnTo>
                    <a:pt x="10012" y="7706"/>
                  </a:lnTo>
                  <a:lnTo>
                    <a:pt x="9771" y="7733"/>
                  </a:lnTo>
                  <a:lnTo>
                    <a:pt x="9701" y="7811"/>
                  </a:lnTo>
                  <a:lnTo>
                    <a:pt x="9701" y="8017"/>
                  </a:lnTo>
                  <a:lnTo>
                    <a:pt x="9581" y="8163"/>
                  </a:lnTo>
                  <a:lnTo>
                    <a:pt x="9597" y="8488"/>
                  </a:lnTo>
                  <a:lnTo>
                    <a:pt x="9637" y="8686"/>
                  </a:lnTo>
                  <a:lnTo>
                    <a:pt x="9693" y="8944"/>
                  </a:lnTo>
                  <a:lnTo>
                    <a:pt x="9588" y="9131"/>
                  </a:lnTo>
                  <a:lnTo>
                    <a:pt x="9435" y="9310"/>
                  </a:lnTo>
                  <a:lnTo>
                    <a:pt x="9298" y="9530"/>
                  </a:lnTo>
                  <a:lnTo>
                    <a:pt x="9180" y="9627"/>
                  </a:lnTo>
                  <a:lnTo>
                    <a:pt x="9092" y="9735"/>
                  </a:lnTo>
                  <a:lnTo>
                    <a:pt x="8983" y="9736"/>
                  </a:lnTo>
                  <a:cubicBezTo>
                    <a:pt x="8962" y="9703"/>
                    <a:pt x="8942" y="9671"/>
                    <a:pt x="8921" y="9640"/>
                  </a:cubicBezTo>
                  <a:cubicBezTo>
                    <a:pt x="8891" y="9595"/>
                    <a:pt x="8861" y="9551"/>
                    <a:pt x="8830" y="9508"/>
                  </a:cubicBezTo>
                  <a:lnTo>
                    <a:pt x="8564" y="9467"/>
                  </a:lnTo>
                  <a:lnTo>
                    <a:pt x="8300" y="9659"/>
                  </a:lnTo>
                  <a:lnTo>
                    <a:pt x="7986" y="9865"/>
                  </a:lnTo>
                  <a:lnTo>
                    <a:pt x="7905" y="9974"/>
                  </a:lnTo>
                  <a:lnTo>
                    <a:pt x="7739" y="10070"/>
                  </a:lnTo>
                  <a:lnTo>
                    <a:pt x="7634" y="10001"/>
                  </a:lnTo>
                  <a:lnTo>
                    <a:pt x="7465" y="9864"/>
                  </a:lnTo>
                  <a:lnTo>
                    <a:pt x="7314" y="9781"/>
                  </a:lnTo>
                  <a:lnTo>
                    <a:pt x="7226" y="9644"/>
                  </a:lnTo>
                  <a:lnTo>
                    <a:pt x="7149" y="9740"/>
                  </a:lnTo>
                  <a:lnTo>
                    <a:pt x="6975" y="9746"/>
                  </a:lnTo>
                  <a:lnTo>
                    <a:pt x="6769" y="9966"/>
                  </a:lnTo>
                  <a:lnTo>
                    <a:pt x="6586" y="9828"/>
                  </a:lnTo>
                  <a:lnTo>
                    <a:pt x="6498" y="9655"/>
                  </a:lnTo>
                  <a:lnTo>
                    <a:pt x="6359" y="9499"/>
                  </a:lnTo>
                  <a:lnTo>
                    <a:pt x="6246" y="9210"/>
                  </a:lnTo>
                  <a:lnTo>
                    <a:pt x="6332" y="9059"/>
                  </a:lnTo>
                  <a:lnTo>
                    <a:pt x="6468" y="9059"/>
                  </a:lnTo>
                  <a:lnTo>
                    <a:pt x="6436" y="9269"/>
                  </a:lnTo>
                  <a:lnTo>
                    <a:pt x="6594" y="9356"/>
                  </a:lnTo>
                  <a:lnTo>
                    <a:pt x="6642" y="9122"/>
                  </a:lnTo>
                  <a:lnTo>
                    <a:pt x="6779" y="9264"/>
                  </a:lnTo>
                  <a:lnTo>
                    <a:pt x="6939" y="9386"/>
                  </a:lnTo>
                  <a:lnTo>
                    <a:pt x="7020" y="9181"/>
                  </a:lnTo>
                  <a:lnTo>
                    <a:pt x="7095" y="8939"/>
                  </a:lnTo>
                  <a:lnTo>
                    <a:pt x="7009" y="8646"/>
                  </a:lnTo>
                  <a:lnTo>
                    <a:pt x="6883" y="8491"/>
                  </a:lnTo>
                  <a:lnTo>
                    <a:pt x="6741" y="8555"/>
                  </a:lnTo>
                  <a:lnTo>
                    <a:pt x="6645" y="8802"/>
                  </a:lnTo>
                  <a:lnTo>
                    <a:pt x="6668" y="8966"/>
                  </a:lnTo>
                  <a:lnTo>
                    <a:pt x="6572" y="8980"/>
                  </a:lnTo>
                  <a:lnTo>
                    <a:pt x="6524" y="8733"/>
                  </a:lnTo>
                  <a:lnTo>
                    <a:pt x="6425" y="8870"/>
                  </a:lnTo>
                  <a:lnTo>
                    <a:pt x="6282" y="8896"/>
                  </a:lnTo>
                  <a:lnTo>
                    <a:pt x="6298" y="8622"/>
                  </a:lnTo>
                  <a:lnTo>
                    <a:pt x="6338" y="8473"/>
                  </a:lnTo>
                  <a:lnTo>
                    <a:pt x="6394" y="8309"/>
                  </a:lnTo>
                  <a:lnTo>
                    <a:pt x="6394" y="7953"/>
                  </a:lnTo>
                  <a:lnTo>
                    <a:pt x="6380" y="7651"/>
                  </a:lnTo>
                  <a:lnTo>
                    <a:pt x="6254" y="7719"/>
                  </a:lnTo>
                  <a:lnTo>
                    <a:pt x="6189" y="7989"/>
                  </a:lnTo>
                  <a:lnTo>
                    <a:pt x="6096" y="8126"/>
                  </a:lnTo>
                  <a:lnTo>
                    <a:pt x="5932" y="8300"/>
                  </a:lnTo>
                  <a:lnTo>
                    <a:pt x="5836" y="8520"/>
                  </a:lnTo>
                  <a:lnTo>
                    <a:pt x="5819" y="8717"/>
                  </a:lnTo>
                  <a:lnTo>
                    <a:pt x="5921" y="8917"/>
                  </a:lnTo>
                  <a:lnTo>
                    <a:pt x="5974" y="9081"/>
                  </a:lnTo>
                  <a:lnTo>
                    <a:pt x="5934" y="9324"/>
                  </a:lnTo>
                  <a:lnTo>
                    <a:pt x="6004" y="9512"/>
                  </a:lnTo>
                  <a:lnTo>
                    <a:pt x="6235" y="9416"/>
                  </a:lnTo>
                  <a:lnTo>
                    <a:pt x="6253" y="9581"/>
                  </a:lnTo>
                  <a:lnTo>
                    <a:pt x="6088" y="9704"/>
                  </a:lnTo>
                  <a:lnTo>
                    <a:pt x="6016" y="9787"/>
                  </a:lnTo>
                  <a:lnTo>
                    <a:pt x="5983" y="10057"/>
                  </a:lnTo>
                  <a:lnTo>
                    <a:pt x="5865" y="10144"/>
                  </a:lnTo>
                  <a:lnTo>
                    <a:pt x="5664" y="10172"/>
                  </a:lnTo>
                  <a:lnTo>
                    <a:pt x="5506" y="10172"/>
                  </a:lnTo>
                  <a:lnTo>
                    <a:pt x="5370" y="10240"/>
                  </a:lnTo>
                  <a:lnTo>
                    <a:pt x="5273" y="10337"/>
                  </a:lnTo>
                  <a:lnTo>
                    <a:pt x="5101" y="10364"/>
                  </a:lnTo>
                  <a:lnTo>
                    <a:pt x="5002" y="10364"/>
                  </a:lnTo>
                  <a:lnTo>
                    <a:pt x="4982" y="10538"/>
                  </a:lnTo>
                  <a:lnTo>
                    <a:pt x="4867" y="10739"/>
                  </a:lnTo>
                  <a:lnTo>
                    <a:pt x="4738" y="10945"/>
                  </a:lnTo>
                  <a:lnTo>
                    <a:pt x="4563" y="11169"/>
                  </a:lnTo>
                  <a:lnTo>
                    <a:pt x="4385" y="11316"/>
                  </a:lnTo>
                  <a:lnTo>
                    <a:pt x="4328" y="11463"/>
                  </a:lnTo>
                  <a:lnTo>
                    <a:pt x="4152" y="11706"/>
                  </a:lnTo>
                  <a:lnTo>
                    <a:pt x="4065" y="11719"/>
                  </a:lnTo>
                  <a:lnTo>
                    <a:pt x="3934" y="11751"/>
                  </a:lnTo>
                  <a:lnTo>
                    <a:pt x="3849" y="11911"/>
                  </a:lnTo>
                  <a:lnTo>
                    <a:pt x="3781" y="12158"/>
                  </a:lnTo>
                  <a:lnTo>
                    <a:pt x="3725" y="12255"/>
                  </a:lnTo>
                  <a:lnTo>
                    <a:pt x="3603" y="12585"/>
                  </a:lnTo>
                  <a:lnTo>
                    <a:pt x="3316" y="12676"/>
                  </a:lnTo>
                  <a:lnTo>
                    <a:pt x="3265" y="12951"/>
                  </a:lnTo>
                  <a:lnTo>
                    <a:pt x="3134" y="12987"/>
                  </a:lnTo>
                  <a:lnTo>
                    <a:pt x="3035" y="12919"/>
                  </a:lnTo>
                  <a:lnTo>
                    <a:pt x="2939" y="12754"/>
                  </a:lnTo>
                  <a:cubicBezTo>
                    <a:pt x="2886" y="12812"/>
                    <a:pt x="2837" y="12876"/>
                    <a:pt x="2790" y="12947"/>
                  </a:cubicBezTo>
                  <a:cubicBezTo>
                    <a:pt x="2744" y="13015"/>
                    <a:pt x="2702" y="13088"/>
                    <a:pt x="2663" y="13166"/>
                  </a:cubicBezTo>
                  <a:lnTo>
                    <a:pt x="2511" y="13235"/>
                  </a:lnTo>
                  <a:lnTo>
                    <a:pt x="2334" y="13327"/>
                  </a:lnTo>
                  <a:lnTo>
                    <a:pt x="2256" y="13258"/>
                  </a:lnTo>
                  <a:lnTo>
                    <a:pt x="2079" y="13176"/>
                  </a:lnTo>
                  <a:lnTo>
                    <a:pt x="1886" y="13313"/>
                  </a:lnTo>
                  <a:lnTo>
                    <a:pt x="1701" y="13451"/>
                  </a:lnTo>
                  <a:lnTo>
                    <a:pt x="1776" y="13589"/>
                  </a:lnTo>
                  <a:lnTo>
                    <a:pt x="1890" y="13693"/>
                  </a:lnTo>
                  <a:lnTo>
                    <a:pt x="2105" y="13776"/>
                  </a:lnTo>
                  <a:lnTo>
                    <a:pt x="2379" y="13955"/>
                  </a:lnTo>
                  <a:lnTo>
                    <a:pt x="2554" y="14129"/>
                  </a:lnTo>
                  <a:lnTo>
                    <a:pt x="2659" y="14413"/>
                  </a:lnTo>
                  <a:lnTo>
                    <a:pt x="2704" y="14587"/>
                  </a:lnTo>
                  <a:lnTo>
                    <a:pt x="2768" y="14861"/>
                  </a:lnTo>
                  <a:lnTo>
                    <a:pt x="2792" y="15475"/>
                  </a:lnTo>
                  <a:lnTo>
                    <a:pt x="2771" y="15814"/>
                  </a:lnTo>
                  <a:cubicBezTo>
                    <a:pt x="2745" y="15996"/>
                    <a:pt x="2708" y="16172"/>
                    <a:pt x="2661" y="16341"/>
                  </a:cubicBezTo>
                  <a:cubicBezTo>
                    <a:pt x="2629" y="16460"/>
                    <a:pt x="2591" y="16574"/>
                    <a:pt x="2549" y="16684"/>
                  </a:cubicBezTo>
                  <a:lnTo>
                    <a:pt x="2342" y="16817"/>
                  </a:lnTo>
                  <a:lnTo>
                    <a:pt x="2030" y="16830"/>
                  </a:lnTo>
                  <a:lnTo>
                    <a:pt x="1856" y="16830"/>
                  </a:lnTo>
                  <a:lnTo>
                    <a:pt x="1549" y="16804"/>
                  </a:lnTo>
                  <a:lnTo>
                    <a:pt x="1329" y="16707"/>
                  </a:lnTo>
                  <a:lnTo>
                    <a:pt x="970" y="16537"/>
                  </a:lnTo>
                  <a:lnTo>
                    <a:pt x="739" y="16469"/>
                  </a:lnTo>
                  <a:lnTo>
                    <a:pt x="478" y="16547"/>
                  </a:lnTo>
                  <a:lnTo>
                    <a:pt x="293" y="16647"/>
                  </a:lnTo>
                  <a:lnTo>
                    <a:pt x="164" y="17042"/>
                  </a:lnTo>
                  <a:lnTo>
                    <a:pt x="199" y="17371"/>
                  </a:lnTo>
                  <a:lnTo>
                    <a:pt x="231" y="17765"/>
                  </a:lnTo>
                  <a:lnTo>
                    <a:pt x="199" y="18217"/>
                  </a:lnTo>
                  <a:lnTo>
                    <a:pt x="86" y="18602"/>
                  </a:lnTo>
                  <a:lnTo>
                    <a:pt x="24" y="19028"/>
                  </a:lnTo>
                  <a:lnTo>
                    <a:pt x="0" y="19390"/>
                  </a:lnTo>
                  <a:lnTo>
                    <a:pt x="32" y="19623"/>
                  </a:lnTo>
                  <a:lnTo>
                    <a:pt x="105" y="19880"/>
                  </a:lnTo>
                  <a:lnTo>
                    <a:pt x="97" y="20137"/>
                  </a:lnTo>
                  <a:lnTo>
                    <a:pt x="40" y="20343"/>
                  </a:lnTo>
                  <a:lnTo>
                    <a:pt x="81" y="20612"/>
                  </a:lnTo>
                  <a:lnTo>
                    <a:pt x="245" y="20708"/>
                  </a:lnTo>
                  <a:lnTo>
                    <a:pt x="417" y="20644"/>
                  </a:lnTo>
                  <a:lnTo>
                    <a:pt x="624" y="20794"/>
                  </a:lnTo>
                  <a:lnTo>
                    <a:pt x="693" y="20881"/>
                  </a:lnTo>
                  <a:lnTo>
                    <a:pt x="1007" y="21211"/>
                  </a:lnTo>
                  <a:lnTo>
                    <a:pt x="1064" y="21408"/>
                  </a:lnTo>
                  <a:lnTo>
                    <a:pt x="1160" y="21436"/>
                  </a:lnTo>
                  <a:lnTo>
                    <a:pt x="1241" y="21600"/>
                  </a:lnTo>
                  <a:lnTo>
                    <a:pt x="1286" y="21437"/>
                  </a:lnTo>
                  <a:lnTo>
                    <a:pt x="1286" y="21236"/>
                  </a:lnTo>
                  <a:lnTo>
                    <a:pt x="1358" y="21119"/>
                  </a:lnTo>
                  <a:lnTo>
                    <a:pt x="1562" y="21092"/>
                  </a:lnTo>
                  <a:lnTo>
                    <a:pt x="1667" y="21105"/>
                  </a:lnTo>
                  <a:cubicBezTo>
                    <a:pt x="1731" y="21119"/>
                    <a:pt x="1796" y="21128"/>
                    <a:pt x="1860" y="21133"/>
                  </a:cubicBezTo>
                  <a:cubicBezTo>
                    <a:pt x="1936" y="21139"/>
                    <a:pt x="2011" y="21139"/>
                    <a:pt x="2086" y="21133"/>
                  </a:cubicBezTo>
                  <a:lnTo>
                    <a:pt x="2247" y="21051"/>
                  </a:lnTo>
                  <a:lnTo>
                    <a:pt x="2333" y="20941"/>
                  </a:lnTo>
                  <a:lnTo>
                    <a:pt x="2422" y="20693"/>
                  </a:lnTo>
                  <a:lnTo>
                    <a:pt x="2519" y="20556"/>
                  </a:lnTo>
                  <a:lnTo>
                    <a:pt x="2655" y="20387"/>
                  </a:lnTo>
                  <a:lnTo>
                    <a:pt x="2784" y="20214"/>
                  </a:lnTo>
                  <a:lnTo>
                    <a:pt x="2897" y="20063"/>
                  </a:lnTo>
                  <a:lnTo>
                    <a:pt x="2921" y="19885"/>
                  </a:lnTo>
                  <a:lnTo>
                    <a:pt x="2921" y="19541"/>
                  </a:lnTo>
                  <a:lnTo>
                    <a:pt x="2969" y="19349"/>
                  </a:lnTo>
                  <a:lnTo>
                    <a:pt x="3039" y="19161"/>
                  </a:lnTo>
                  <a:lnTo>
                    <a:pt x="3241" y="18748"/>
                  </a:lnTo>
                  <a:lnTo>
                    <a:pt x="3257" y="18515"/>
                  </a:lnTo>
                  <a:cubicBezTo>
                    <a:pt x="3267" y="18464"/>
                    <a:pt x="3283" y="18417"/>
                    <a:pt x="3305" y="18379"/>
                  </a:cubicBezTo>
                  <a:cubicBezTo>
                    <a:pt x="3367" y="18269"/>
                    <a:pt x="3459" y="18240"/>
                    <a:pt x="3541" y="18187"/>
                  </a:cubicBezTo>
                  <a:cubicBezTo>
                    <a:pt x="3616" y="18139"/>
                    <a:pt x="3685" y="18071"/>
                    <a:pt x="3745" y="17985"/>
                  </a:cubicBezTo>
                  <a:lnTo>
                    <a:pt x="3923" y="17728"/>
                  </a:lnTo>
                  <a:lnTo>
                    <a:pt x="4081" y="17581"/>
                  </a:lnTo>
                  <a:lnTo>
                    <a:pt x="4167" y="17554"/>
                  </a:lnTo>
                  <a:lnTo>
                    <a:pt x="4059" y="17247"/>
                  </a:lnTo>
                  <a:lnTo>
                    <a:pt x="3955" y="17261"/>
                  </a:lnTo>
                  <a:lnTo>
                    <a:pt x="3938" y="16973"/>
                  </a:lnTo>
                  <a:lnTo>
                    <a:pt x="4118" y="16859"/>
                  </a:lnTo>
                  <a:lnTo>
                    <a:pt x="4354" y="16726"/>
                  </a:lnTo>
                  <a:lnTo>
                    <a:pt x="4432" y="16658"/>
                  </a:lnTo>
                  <a:lnTo>
                    <a:pt x="4620" y="16554"/>
                  </a:lnTo>
                  <a:lnTo>
                    <a:pt x="4738" y="16663"/>
                  </a:lnTo>
                  <a:lnTo>
                    <a:pt x="4945" y="16842"/>
                  </a:lnTo>
                  <a:lnTo>
                    <a:pt x="5057" y="16801"/>
                  </a:lnTo>
                  <a:lnTo>
                    <a:pt x="5270" y="16614"/>
                  </a:lnTo>
                  <a:cubicBezTo>
                    <a:pt x="5348" y="16588"/>
                    <a:pt x="5424" y="16547"/>
                    <a:pt x="5495" y="16490"/>
                  </a:cubicBezTo>
                  <a:cubicBezTo>
                    <a:pt x="5582" y="16422"/>
                    <a:pt x="5661" y="16332"/>
                    <a:pt x="5732" y="16224"/>
                  </a:cubicBezTo>
                  <a:lnTo>
                    <a:pt x="5896" y="16096"/>
                  </a:lnTo>
                  <a:lnTo>
                    <a:pt x="6009" y="16027"/>
                  </a:lnTo>
                  <a:lnTo>
                    <a:pt x="6185" y="15959"/>
                  </a:lnTo>
                  <a:lnTo>
                    <a:pt x="6336" y="16187"/>
                  </a:lnTo>
                  <a:lnTo>
                    <a:pt x="6513" y="16558"/>
                  </a:lnTo>
                  <a:lnTo>
                    <a:pt x="6478" y="16957"/>
                  </a:lnTo>
                  <a:lnTo>
                    <a:pt x="6566" y="17191"/>
                  </a:lnTo>
                  <a:cubicBezTo>
                    <a:pt x="6627" y="17266"/>
                    <a:pt x="6693" y="17327"/>
                    <a:pt x="6762" y="17374"/>
                  </a:cubicBezTo>
                  <a:cubicBezTo>
                    <a:pt x="6828" y="17418"/>
                    <a:pt x="6896" y="17449"/>
                    <a:pt x="6961" y="17493"/>
                  </a:cubicBezTo>
                  <a:cubicBezTo>
                    <a:pt x="7076" y="17571"/>
                    <a:pt x="7181" y="17688"/>
                    <a:pt x="7268" y="17837"/>
                  </a:cubicBezTo>
                  <a:lnTo>
                    <a:pt x="7381" y="17960"/>
                  </a:lnTo>
                  <a:lnTo>
                    <a:pt x="7502" y="18097"/>
                  </a:lnTo>
                  <a:lnTo>
                    <a:pt x="7652" y="18230"/>
                  </a:lnTo>
                  <a:lnTo>
                    <a:pt x="7765" y="18312"/>
                  </a:lnTo>
                  <a:lnTo>
                    <a:pt x="7950" y="18500"/>
                  </a:lnTo>
                  <a:lnTo>
                    <a:pt x="8004" y="18619"/>
                  </a:lnTo>
                  <a:lnTo>
                    <a:pt x="8122" y="18894"/>
                  </a:lnTo>
                  <a:lnTo>
                    <a:pt x="8273" y="19251"/>
                  </a:lnTo>
                  <a:lnTo>
                    <a:pt x="8399" y="19535"/>
                  </a:lnTo>
                  <a:lnTo>
                    <a:pt x="8203" y="19705"/>
                  </a:lnTo>
                  <a:lnTo>
                    <a:pt x="8232" y="19896"/>
                  </a:lnTo>
                  <a:lnTo>
                    <a:pt x="8184" y="20192"/>
                  </a:lnTo>
                  <a:lnTo>
                    <a:pt x="8313" y="20256"/>
                  </a:lnTo>
                  <a:lnTo>
                    <a:pt x="8369" y="20092"/>
                  </a:lnTo>
                  <a:lnTo>
                    <a:pt x="8471" y="19927"/>
                  </a:lnTo>
                  <a:lnTo>
                    <a:pt x="8584" y="19703"/>
                  </a:lnTo>
                  <a:lnTo>
                    <a:pt x="8621" y="19542"/>
                  </a:lnTo>
                  <a:lnTo>
                    <a:pt x="8570" y="19314"/>
                  </a:lnTo>
                  <a:lnTo>
                    <a:pt x="8522" y="19090"/>
                  </a:lnTo>
                  <a:lnTo>
                    <a:pt x="8493" y="18927"/>
                  </a:lnTo>
                  <a:lnTo>
                    <a:pt x="8573" y="18716"/>
                  </a:lnTo>
                  <a:lnTo>
                    <a:pt x="8735" y="18702"/>
                  </a:lnTo>
                  <a:lnTo>
                    <a:pt x="8831" y="18752"/>
                  </a:lnTo>
                  <a:lnTo>
                    <a:pt x="8888" y="18876"/>
                  </a:lnTo>
                  <a:lnTo>
                    <a:pt x="9070" y="18944"/>
                  </a:lnTo>
                  <a:lnTo>
                    <a:pt x="9159" y="18880"/>
                  </a:lnTo>
                  <a:lnTo>
                    <a:pt x="9054" y="18697"/>
                  </a:lnTo>
                  <a:lnTo>
                    <a:pt x="8898" y="18523"/>
                  </a:lnTo>
                  <a:lnTo>
                    <a:pt x="8594" y="18261"/>
                  </a:lnTo>
                  <a:lnTo>
                    <a:pt x="8368" y="18041"/>
                  </a:lnTo>
                  <a:lnTo>
                    <a:pt x="8097" y="17835"/>
                  </a:lnTo>
                  <a:lnTo>
                    <a:pt x="7917" y="17422"/>
                  </a:lnTo>
                  <a:lnTo>
                    <a:pt x="7716" y="17353"/>
                  </a:lnTo>
                  <a:lnTo>
                    <a:pt x="7485" y="16964"/>
                  </a:lnTo>
                  <a:lnTo>
                    <a:pt x="7541" y="16565"/>
                  </a:lnTo>
                  <a:lnTo>
                    <a:pt x="7398" y="16378"/>
                  </a:lnTo>
                  <a:lnTo>
                    <a:pt x="7222" y="16240"/>
                  </a:lnTo>
                  <a:lnTo>
                    <a:pt x="6975" y="15938"/>
                  </a:lnTo>
                  <a:lnTo>
                    <a:pt x="6974" y="15498"/>
                  </a:lnTo>
                  <a:lnTo>
                    <a:pt x="7213" y="15265"/>
                  </a:lnTo>
                  <a:lnTo>
                    <a:pt x="7388" y="15320"/>
                  </a:lnTo>
                  <a:lnTo>
                    <a:pt x="7527" y="15712"/>
                  </a:lnTo>
                  <a:lnTo>
                    <a:pt x="7790" y="15919"/>
                  </a:lnTo>
                  <a:cubicBezTo>
                    <a:pt x="7896" y="15936"/>
                    <a:pt x="7997" y="15992"/>
                    <a:pt x="8089" y="16084"/>
                  </a:cubicBezTo>
                  <a:cubicBezTo>
                    <a:pt x="8148" y="16143"/>
                    <a:pt x="8203" y="16217"/>
                    <a:pt x="8250" y="16304"/>
                  </a:cubicBezTo>
                  <a:lnTo>
                    <a:pt x="8390" y="16623"/>
                  </a:lnTo>
                  <a:lnTo>
                    <a:pt x="8497" y="16783"/>
                  </a:lnTo>
                  <a:lnTo>
                    <a:pt x="8659" y="16893"/>
                  </a:lnTo>
                  <a:cubicBezTo>
                    <a:pt x="8718" y="16911"/>
                    <a:pt x="8777" y="16939"/>
                    <a:pt x="8833" y="16975"/>
                  </a:cubicBezTo>
                  <a:cubicBezTo>
                    <a:pt x="8886" y="17009"/>
                    <a:pt x="8937" y="17050"/>
                    <a:pt x="8986" y="17098"/>
                  </a:cubicBezTo>
                  <a:lnTo>
                    <a:pt x="9201" y="17368"/>
                  </a:lnTo>
                  <a:lnTo>
                    <a:pt x="9367" y="17642"/>
                  </a:lnTo>
                  <a:lnTo>
                    <a:pt x="9448" y="18069"/>
                  </a:lnTo>
                  <a:lnTo>
                    <a:pt x="9472" y="18476"/>
                  </a:lnTo>
                  <a:lnTo>
                    <a:pt x="9480" y="18860"/>
                  </a:lnTo>
                  <a:lnTo>
                    <a:pt x="9606" y="19231"/>
                  </a:lnTo>
                  <a:lnTo>
                    <a:pt x="9708" y="19433"/>
                  </a:lnTo>
                  <a:lnTo>
                    <a:pt x="9931" y="19550"/>
                  </a:lnTo>
                  <a:lnTo>
                    <a:pt x="10097" y="19631"/>
                  </a:lnTo>
                  <a:lnTo>
                    <a:pt x="10223" y="19645"/>
                  </a:lnTo>
                  <a:lnTo>
                    <a:pt x="10379" y="19791"/>
                  </a:lnTo>
                  <a:lnTo>
                    <a:pt x="10473" y="19924"/>
                  </a:lnTo>
                  <a:lnTo>
                    <a:pt x="10384" y="20183"/>
                  </a:lnTo>
                  <a:lnTo>
                    <a:pt x="10159" y="20128"/>
                  </a:lnTo>
                  <a:lnTo>
                    <a:pt x="10073" y="20243"/>
                  </a:lnTo>
                  <a:lnTo>
                    <a:pt x="10193" y="20472"/>
                  </a:lnTo>
                  <a:lnTo>
                    <a:pt x="10266" y="20815"/>
                  </a:lnTo>
                  <a:cubicBezTo>
                    <a:pt x="10273" y="20912"/>
                    <a:pt x="10304" y="20999"/>
                    <a:pt x="10352" y="21053"/>
                  </a:cubicBezTo>
                  <a:cubicBezTo>
                    <a:pt x="10384" y="21090"/>
                    <a:pt x="10423" y="21109"/>
                    <a:pt x="10462" y="21108"/>
                  </a:cubicBezTo>
                  <a:lnTo>
                    <a:pt x="10696" y="20998"/>
                  </a:lnTo>
                  <a:lnTo>
                    <a:pt x="10712" y="20701"/>
                  </a:lnTo>
                  <a:cubicBezTo>
                    <a:pt x="10707" y="20596"/>
                    <a:pt x="10707" y="20491"/>
                    <a:pt x="10712" y="20387"/>
                  </a:cubicBezTo>
                  <a:cubicBezTo>
                    <a:pt x="10716" y="20296"/>
                    <a:pt x="10724" y="20206"/>
                    <a:pt x="10736" y="20117"/>
                  </a:cubicBezTo>
                  <a:cubicBezTo>
                    <a:pt x="10735" y="20034"/>
                    <a:pt x="10727" y="19953"/>
                    <a:pt x="10712" y="19874"/>
                  </a:cubicBezTo>
                  <a:cubicBezTo>
                    <a:pt x="10684" y="19724"/>
                    <a:pt x="10633" y="19589"/>
                    <a:pt x="10564" y="19484"/>
                  </a:cubicBezTo>
                  <a:lnTo>
                    <a:pt x="10443" y="19117"/>
                  </a:lnTo>
                  <a:cubicBezTo>
                    <a:pt x="10405" y="19035"/>
                    <a:pt x="10398" y="18922"/>
                    <a:pt x="10427" y="18829"/>
                  </a:cubicBezTo>
                  <a:cubicBezTo>
                    <a:pt x="10451" y="18751"/>
                    <a:pt x="10497" y="18700"/>
                    <a:pt x="10548" y="18692"/>
                  </a:cubicBezTo>
                  <a:lnTo>
                    <a:pt x="10680" y="18705"/>
                  </a:lnTo>
                  <a:lnTo>
                    <a:pt x="10811" y="18765"/>
                  </a:lnTo>
                  <a:lnTo>
                    <a:pt x="10929" y="18911"/>
                  </a:lnTo>
                  <a:lnTo>
                    <a:pt x="10953" y="18597"/>
                  </a:lnTo>
                  <a:lnTo>
                    <a:pt x="11025" y="18391"/>
                  </a:lnTo>
                  <a:lnTo>
                    <a:pt x="11310" y="18336"/>
                  </a:lnTo>
                  <a:lnTo>
                    <a:pt x="11533" y="18336"/>
                  </a:lnTo>
                  <a:lnTo>
                    <a:pt x="11766" y="18570"/>
                  </a:lnTo>
                  <a:lnTo>
                    <a:pt x="11991" y="18469"/>
                  </a:lnTo>
                  <a:lnTo>
                    <a:pt x="12104" y="18400"/>
                  </a:lnTo>
                  <a:lnTo>
                    <a:pt x="12392" y="18317"/>
                  </a:lnTo>
                  <a:lnTo>
                    <a:pt x="12469" y="18171"/>
                  </a:lnTo>
                  <a:cubicBezTo>
                    <a:pt x="12441" y="18118"/>
                    <a:pt x="12413" y="18066"/>
                    <a:pt x="12383" y="18015"/>
                  </a:cubicBezTo>
                  <a:cubicBezTo>
                    <a:pt x="12320" y="17907"/>
                    <a:pt x="12252" y="17806"/>
                    <a:pt x="12181" y="17713"/>
                  </a:cubicBezTo>
                  <a:cubicBezTo>
                    <a:pt x="12169" y="17590"/>
                    <a:pt x="12166" y="17465"/>
                    <a:pt x="12173" y="17342"/>
                  </a:cubicBezTo>
                  <a:cubicBezTo>
                    <a:pt x="12182" y="17201"/>
                    <a:pt x="12204" y="17063"/>
                    <a:pt x="12238" y="16934"/>
                  </a:cubicBezTo>
                  <a:lnTo>
                    <a:pt x="12262" y="16700"/>
                  </a:lnTo>
                  <a:lnTo>
                    <a:pt x="12383" y="16233"/>
                  </a:lnTo>
                  <a:lnTo>
                    <a:pt x="12447" y="15904"/>
                  </a:lnTo>
                  <a:lnTo>
                    <a:pt x="12552" y="15455"/>
                  </a:lnTo>
                  <a:lnTo>
                    <a:pt x="12671" y="15194"/>
                  </a:lnTo>
                  <a:lnTo>
                    <a:pt x="12888" y="14822"/>
                  </a:lnTo>
                  <a:lnTo>
                    <a:pt x="13179" y="14607"/>
                  </a:lnTo>
                  <a:lnTo>
                    <a:pt x="13407" y="14414"/>
                  </a:lnTo>
                  <a:lnTo>
                    <a:pt x="13485" y="14588"/>
                  </a:lnTo>
                  <a:lnTo>
                    <a:pt x="13485" y="14898"/>
                  </a:lnTo>
                  <a:lnTo>
                    <a:pt x="13692" y="14926"/>
                  </a:lnTo>
                  <a:lnTo>
                    <a:pt x="13794" y="15008"/>
                  </a:lnTo>
                  <a:lnTo>
                    <a:pt x="13842" y="15254"/>
                  </a:lnTo>
                  <a:lnTo>
                    <a:pt x="13659" y="15264"/>
                  </a:lnTo>
                  <a:lnTo>
                    <a:pt x="13643" y="15414"/>
                  </a:lnTo>
                  <a:lnTo>
                    <a:pt x="13845" y="15703"/>
                  </a:lnTo>
                  <a:lnTo>
                    <a:pt x="13960" y="15946"/>
                  </a:lnTo>
                  <a:lnTo>
                    <a:pt x="14162" y="15979"/>
                  </a:lnTo>
                  <a:lnTo>
                    <a:pt x="14250" y="15857"/>
                  </a:lnTo>
                  <a:lnTo>
                    <a:pt x="14403" y="15678"/>
                  </a:lnTo>
                  <a:lnTo>
                    <a:pt x="14752" y="15546"/>
                  </a:lnTo>
                  <a:lnTo>
                    <a:pt x="14728" y="15315"/>
                  </a:lnTo>
                  <a:lnTo>
                    <a:pt x="14639" y="15250"/>
                  </a:lnTo>
                  <a:lnTo>
                    <a:pt x="14489" y="15305"/>
                  </a:lnTo>
                  <a:cubicBezTo>
                    <a:pt x="14437" y="15251"/>
                    <a:pt x="14386" y="15193"/>
                    <a:pt x="14336" y="15132"/>
                  </a:cubicBezTo>
                  <a:cubicBezTo>
                    <a:pt x="14301" y="15088"/>
                    <a:pt x="14266" y="15042"/>
                    <a:pt x="14232" y="14994"/>
                  </a:cubicBezTo>
                  <a:lnTo>
                    <a:pt x="14288" y="14817"/>
                  </a:lnTo>
                  <a:lnTo>
                    <a:pt x="14447" y="14721"/>
                  </a:lnTo>
                  <a:lnTo>
                    <a:pt x="14613" y="14569"/>
                  </a:lnTo>
                  <a:lnTo>
                    <a:pt x="14824" y="14382"/>
                  </a:lnTo>
                  <a:lnTo>
                    <a:pt x="14966" y="14231"/>
                  </a:lnTo>
                  <a:lnTo>
                    <a:pt x="15155" y="14089"/>
                  </a:lnTo>
                  <a:lnTo>
                    <a:pt x="15299" y="14048"/>
                  </a:lnTo>
                  <a:lnTo>
                    <a:pt x="15474" y="14204"/>
                  </a:lnTo>
                  <a:lnTo>
                    <a:pt x="15391" y="14386"/>
                  </a:lnTo>
                  <a:lnTo>
                    <a:pt x="15273" y="14666"/>
                  </a:lnTo>
                  <a:lnTo>
                    <a:pt x="15265" y="14990"/>
                  </a:lnTo>
                  <a:lnTo>
                    <a:pt x="15230" y="15325"/>
                  </a:lnTo>
                  <a:lnTo>
                    <a:pt x="15118" y="15517"/>
                  </a:lnTo>
                  <a:lnTo>
                    <a:pt x="15096" y="15705"/>
                  </a:lnTo>
                  <a:lnTo>
                    <a:pt x="15233" y="15800"/>
                  </a:lnTo>
                  <a:cubicBezTo>
                    <a:pt x="15284" y="15813"/>
                    <a:pt x="15335" y="15836"/>
                    <a:pt x="15383" y="15869"/>
                  </a:cubicBezTo>
                  <a:cubicBezTo>
                    <a:pt x="15456" y="15919"/>
                    <a:pt x="15524" y="15992"/>
                    <a:pt x="15582" y="16084"/>
                  </a:cubicBezTo>
                  <a:lnTo>
                    <a:pt x="15792" y="16341"/>
                  </a:lnTo>
                  <a:lnTo>
                    <a:pt x="16009" y="16409"/>
                  </a:lnTo>
                  <a:lnTo>
                    <a:pt x="16163" y="16684"/>
                  </a:lnTo>
                  <a:lnTo>
                    <a:pt x="16364" y="16863"/>
                  </a:lnTo>
                  <a:lnTo>
                    <a:pt x="16519" y="17063"/>
                  </a:lnTo>
                  <a:lnTo>
                    <a:pt x="16602" y="17384"/>
                  </a:lnTo>
                  <a:lnTo>
                    <a:pt x="16900" y="17421"/>
                  </a:lnTo>
                  <a:lnTo>
                    <a:pt x="17231" y="17499"/>
                  </a:lnTo>
                  <a:lnTo>
                    <a:pt x="17545" y="17705"/>
                  </a:lnTo>
                  <a:lnTo>
                    <a:pt x="17840" y="17980"/>
                  </a:lnTo>
                  <a:lnTo>
                    <a:pt x="18090" y="18259"/>
                  </a:lnTo>
                  <a:lnTo>
                    <a:pt x="18475" y="18575"/>
                  </a:lnTo>
                  <a:lnTo>
                    <a:pt x="18792" y="18777"/>
                  </a:lnTo>
                  <a:lnTo>
                    <a:pt x="19129" y="19050"/>
                  </a:lnTo>
                  <a:lnTo>
                    <a:pt x="19351" y="19182"/>
                  </a:lnTo>
                  <a:lnTo>
                    <a:pt x="19359" y="18839"/>
                  </a:lnTo>
                  <a:lnTo>
                    <a:pt x="19201" y="18353"/>
                  </a:lnTo>
                  <a:lnTo>
                    <a:pt x="19056" y="17804"/>
                  </a:lnTo>
                  <a:lnTo>
                    <a:pt x="18836" y="17575"/>
                  </a:lnTo>
                  <a:lnTo>
                    <a:pt x="18691" y="17287"/>
                  </a:lnTo>
                  <a:lnTo>
                    <a:pt x="18580" y="17027"/>
                  </a:lnTo>
                  <a:lnTo>
                    <a:pt x="18437" y="16793"/>
                  </a:lnTo>
                  <a:lnTo>
                    <a:pt x="18437" y="16531"/>
                  </a:lnTo>
                  <a:lnTo>
                    <a:pt x="18220" y="16330"/>
                  </a:lnTo>
                  <a:lnTo>
                    <a:pt x="18064" y="15973"/>
                  </a:lnTo>
                  <a:lnTo>
                    <a:pt x="18247" y="15607"/>
                  </a:lnTo>
                  <a:lnTo>
                    <a:pt x="18424" y="15318"/>
                  </a:lnTo>
                  <a:lnTo>
                    <a:pt x="18655" y="15304"/>
                  </a:lnTo>
                  <a:lnTo>
                    <a:pt x="18759" y="15057"/>
                  </a:lnTo>
                  <a:cubicBezTo>
                    <a:pt x="18777" y="14995"/>
                    <a:pt x="18799" y="14935"/>
                    <a:pt x="18824" y="14880"/>
                  </a:cubicBezTo>
                  <a:cubicBezTo>
                    <a:pt x="18871" y="14776"/>
                    <a:pt x="18929" y="14689"/>
                    <a:pt x="18996" y="14623"/>
                  </a:cubicBezTo>
                  <a:lnTo>
                    <a:pt x="19321" y="14418"/>
                  </a:lnTo>
                  <a:lnTo>
                    <a:pt x="19622" y="14295"/>
                  </a:lnTo>
                  <a:lnTo>
                    <a:pt x="19459" y="13998"/>
                  </a:lnTo>
                  <a:lnTo>
                    <a:pt x="19352" y="13728"/>
                  </a:lnTo>
                  <a:lnTo>
                    <a:pt x="19263" y="13311"/>
                  </a:lnTo>
                  <a:lnTo>
                    <a:pt x="19263" y="12674"/>
                  </a:lnTo>
                  <a:lnTo>
                    <a:pt x="19094" y="12413"/>
                  </a:lnTo>
                  <a:lnTo>
                    <a:pt x="18905" y="12303"/>
                  </a:lnTo>
                  <a:lnTo>
                    <a:pt x="18825" y="11587"/>
                  </a:lnTo>
                  <a:lnTo>
                    <a:pt x="18825" y="11300"/>
                  </a:lnTo>
                  <a:lnTo>
                    <a:pt x="19026" y="11176"/>
                  </a:lnTo>
                  <a:lnTo>
                    <a:pt x="19153" y="11204"/>
                  </a:lnTo>
                  <a:lnTo>
                    <a:pt x="19685" y="11492"/>
                  </a:lnTo>
                  <a:lnTo>
                    <a:pt x="19916" y="11286"/>
                  </a:lnTo>
                  <a:lnTo>
                    <a:pt x="20085" y="11176"/>
                  </a:lnTo>
                  <a:lnTo>
                    <a:pt x="20330" y="11204"/>
                  </a:lnTo>
                  <a:lnTo>
                    <a:pt x="20504" y="11392"/>
                  </a:lnTo>
                  <a:lnTo>
                    <a:pt x="20892" y="11571"/>
                  </a:lnTo>
                  <a:lnTo>
                    <a:pt x="21279" y="11763"/>
                  </a:lnTo>
                  <a:lnTo>
                    <a:pt x="21416" y="11557"/>
                  </a:lnTo>
                  <a:lnTo>
                    <a:pt x="21488" y="11250"/>
                  </a:lnTo>
                  <a:lnTo>
                    <a:pt x="21480" y="10939"/>
                  </a:lnTo>
                  <a:lnTo>
                    <a:pt x="21585" y="10788"/>
                  </a:lnTo>
                  <a:lnTo>
                    <a:pt x="21472" y="10615"/>
                  </a:lnTo>
                  <a:lnTo>
                    <a:pt x="21445" y="10409"/>
                  </a:lnTo>
                  <a:lnTo>
                    <a:pt x="21539" y="10161"/>
                  </a:lnTo>
                  <a:lnTo>
                    <a:pt x="21600" y="9773"/>
                  </a:lnTo>
                  <a:lnTo>
                    <a:pt x="21449" y="9398"/>
                  </a:lnTo>
                  <a:lnTo>
                    <a:pt x="21248" y="9192"/>
                  </a:lnTo>
                  <a:lnTo>
                    <a:pt x="21117" y="9270"/>
                  </a:lnTo>
                  <a:lnTo>
                    <a:pt x="21077" y="9513"/>
                  </a:lnTo>
                  <a:lnTo>
                    <a:pt x="21021" y="9718"/>
                  </a:lnTo>
                  <a:lnTo>
                    <a:pt x="20909" y="9814"/>
                  </a:lnTo>
                  <a:lnTo>
                    <a:pt x="20756" y="9882"/>
                  </a:lnTo>
                  <a:lnTo>
                    <a:pt x="20592" y="9662"/>
                  </a:lnTo>
                  <a:lnTo>
                    <a:pt x="20385" y="9355"/>
                  </a:lnTo>
                  <a:lnTo>
                    <a:pt x="20422" y="9122"/>
                  </a:lnTo>
                  <a:lnTo>
                    <a:pt x="20264" y="8894"/>
                  </a:lnTo>
                  <a:lnTo>
                    <a:pt x="20434" y="8637"/>
                  </a:lnTo>
                  <a:lnTo>
                    <a:pt x="20710" y="8587"/>
                  </a:lnTo>
                  <a:lnTo>
                    <a:pt x="20858" y="8416"/>
                  </a:lnTo>
                  <a:lnTo>
                    <a:pt x="20898" y="8128"/>
                  </a:lnTo>
                  <a:lnTo>
                    <a:pt x="20858" y="7798"/>
                  </a:lnTo>
                  <a:lnTo>
                    <a:pt x="20732" y="7675"/>
                  </a:lnTo>
                  <a:lnTo>
                    <a:pt x="20644" y="7355"/>
                  </a:lnTo>
                  <a:lnTo>
                    <a:pt x="20491" y="7121"/>
                  </a:lnTo>
                  <a:lnTo>
                    <a:pt x="20507" y="6709"/>
                  </a:lnTo>
                  <a:lnTo>
                    <a:pt x="20499" y="6365"/>
                  </a:lnTo>
                  <a:lnTo>
                    <a:pt x="20459" y="5985"/>
                  </a:lnTo>
                  <a:lnTo>
                    <a:pt x="20451" y="5531"/>
                  </a:lnTo>
                  <a:lnTo>
                    <a:pt x="20370" y="5106"/>
                  </a:lnTo>
                  <a:lnTo>
                    <a:pt x="20231" y="4810"/>
                  </a:lnTo>
                  <a:lnTo>
                    <a:pt x="20145" y="4182"/>
                  </a:lnTo>
                  <a:lnTo>
                    <a:pt x="20065" y="3716"/>
                  </a:lnTo>
                  <a:lnTo>
                    <a:pt x="19979" y="3404"/>
                  </a:lnTo>
                  <a:lnTo>
                    <a:pt x="19963" y="3062"/>
                  </a:lnTo>
                  <a:lnTo>
                    <a:pt x="20091" y="2842"/>
                  </a:lnTo>
                  <a:lnTo>
                    <a:pt x="20317" y="2737"/>
                  </a:lnTo>
                  <a:lnTo>
                    <a:pt x="20570" y="2546"/>
                  </a:lnTo>
                  <a:lnTo>
                    <a:pt x="20683" y="2340"/>
                  </a:lnTo>
                  <a:lnTo>
                    <a:pt x="20965" y="2162"/>
                  </a:lnTo>
                  <a:lnTo>
                    <a:pt x="21059" y="2043"/>
                  </a:lnTo>
                  <a:lnTo>
                    <a:pt x="21076" y="1814"/>
                  </a:lnTo>
                  <a:lnTo>
                    <a:pt x="21092" y="1581"/>
                  </a:lnTo>
                  <a:lnTo>
                    <a:pt x="20928" y="1371"/>
                  </a:lnTo>
                  <a:lnTo>
                    <a:pt x="20807" y="1150"/>
                  </a:lnTo>
                  <a:close/>
                </a:path>
              </a:pathLst>
            </a:custGeom>
            <a:grpFill/>
            <a:ln w="25400" cap="flat">
              <a:noFill/>
              <a:prstDash val="solid"/>
              <a:miter lim="400000"/>
            </a:ln>
            <a:effectLst/>
          </p:spPr>
          <p:txBody>
            <a:bodyPr anchor="ctr"/>
            <a:lstStyle/>
            <a:p>
              <a:pPr algn="ctr"/>
              <a:endParaRPr/>
            </a:p>
          </p:txBody>
        </p:sp>
        <p:sp>
          <p:nvSpPr>
            <p:cNvPr id="118" name="îṧlïḋê">
              <a:extLst>
                <a:ext uri="{FF2B5EF4-FFF2-40B4-BE49-F238E27FC236}">
                  <a16:creationId xmlns:a16="http://schemas.microsoft.com/office/drawing/2014/main" id="{3B008F81-1E1F-4F79-BF7A-A2446476736E}"/>
                </a:ext>
              </a:extLst>
            </p:cNvPr>
            <p:cNvSpPr/>
            <p:nvPr/>
          </p:nvSpPr>
          <p:spPr>
            <a:xfrm>
              <a:off x="6872934" y="1426645"/>
              <a:ext cx="308560" cy="179738"/>
            </a:xfrm>
            <a:custGeom>
              <a:avLst/>
              <a:gdLst/>
              <a:ahLst/>
              <a:cxnLst>
                <a:cxn ang="0">
                  <a:pos x="wd2" y="hd2"/>
                </a:cxn>
                <a:cxn ang="5400000">
                  <a:pos x="wd2" y="hd2"/>
                </a:cxn>
                <a:cxn ang="10800000">
                  <a:pos x="wd2" y="hd2"/>
                </a:cxn>
                <a:cxn ang="16200000">
                  <a:pos x="wd2" y="hd2"/>
                </a:cxn>
              </a:cxnLst>
              <a:rect l="0" t="0" r="r" b="b"/>
              <a:pathLst>
                <a:path w="21600" h="21600" extrusionOk="0">
                  <a:moveTo>
                    <a:pt x="4445" y="7866"/>
                  </a:moveTo>
                  <a:lnTo>
                    <a:pt x="3880" y="8515"/>
                  </a:lnTo>
                  <a:lnTo>
                    <a:pt x="2778" y="8369"/>
                  </a:lnTo>
                  <a:lnTo>
                    <a:pt x="2178" y="9461"/>
                  </a:lnTo>
                  <a:lnTo>
                    <a:pt x="3120" y="10277"/>
                  </a:lnTo>
                  <a:lnTo>
                    <a:pt x="3156" y="12185"/>
                  </a:lnTo>
                  <a:lnTo>
                    <a:pt x="2430" y="12337"/>
                  </a:lnTo>
                  <a:lnTo>
                    <a:pt x="1278" y="11885"/>
                  </a:lnTo>
                  <a:lnTo>
                    <a:pt x="769" y="12613"/>
                  </a:lnTo>
                  <a:lnTo>
                    <a:pt x="566" y="13516"/>
                  </a:lnTo>
                  <a:lnTo>
                    <a:pt x="1354" y="13873"/>
                  </a:lnTo>
                  <a:lnTo>
                    <a:pt x="1463" y="14966"/>
                  </a:lnTo>
                  <a:lnTo>
                    <a:pt x="698" y="15754"/>
                  </a:lnTo>
                  <a:lnTo>
                    <a:pt x="273" y="16479"/>
                  </a:lnTo>
                  <a:lnTo>
                    <a:pt x="0" y="18023"/>
                  </a:lnTo>
                  <a:lnTo>
                    <a:pt x="841" y="18266"/>
                  </a:lnTo>
                  <a:lnTo>
                    <a:pt x="2336" y="18448"/>
                  </a:lnTo>
                  <a:lnTo>
                    <a:pt x="3297" y="19783"/>
                  </a:lnTo>
                  <a:lnTo>
                    <a:pt x="3987" y="20416"/>
                  </a:lnTo>
                  <a:lnTo>
                    <a:pt x="5126" y="21509"/>
                  </a:lnTo>
                  <a:lnTo>
                    <a:pt x="6761" y="21418"/>
                  </a:lnTo>
                  <a:lnTo>
                    <a:pt x="8539" y="21600"/>
                  </a:lnTo>
                  <a:lnTo>
                    <a:pt x="8021" y="19297"/>
                  </a:lnTo>
                  <a:lnTo>
                    <a:pt x="6548" y="18235"/>
                  </a:lnTo>
                  <a:lnTo>
                    <a:pt x="6499" y="15428"/>
                  </a:lnTo>
                  <a:lnTo>
                    <a:pt x="6997" y="13668"/>
                  </a:lnTo>
                  <a:lnTo>
                    <a:pt x="8012" y="10664"/>
                  </a:lnTo>
                  <a:lnTo>
                    <a:pt x="8386" y="8570"/>
                  </a:lnTo>
                  <a:lnTo>
                    <a:pt x="9594" y="6965"/>
                  </a:lnTo>
                  <a:lnTo>
                    <a:pt x="10818" y="7328"/>
                  </a:lnTo>
                  <a:lnTo>
                    <a:pt x="12132" y="6430"/>
                  </a:lnTo>
                  <a:lnTo>
                    <a:pt x="13272" y="5308"/>
                  </a:lnTo>
                  <a:lnTo>
                    <a:pt x="14533" y="4941"/>
                  </a:lnTo>
                  <a:lnTo>
                    <a:pt x="16291" y="4582"/>
                  </a:lnTo>
                  <a:cubicBezTo>
                    <a:pt x="16608" y="4821"/>
                    <a:pt x="16969" y="4821"/>
                    <a:pt x="17286" y="4583"/>
                  </a:cubicBezTo>
                  <a:cubicBezTo>
                    <a:pt x="17607" y="4341"/>
                    <a:pt x="17852" y="3877"/>
                    <a:pt x="17960" y="3308"/>
                  </a:cubicBezTo>
                  <a:lnTo>
                    <a:pt x="19113" y="3551"/>
                  </a:lnTo>
                  <a:lnTo>
                    <a:pt x="19985" y="3581"/>
                  </a:lnTo>
                  <a:lnTo>
                    <a:pt x="20338" y="2523"/>
                  </a:lnTo>
                  <a:lnTo>
                    <a:pt x="21351" y="2592"/>
                  </a:lnTo>
                  <a:lnTo>
                    <a:pt x="21600" y="1704"/>
                  </a:lnTo>
                  <a:lnTo>
                    <a:pt x="20641" y="1406"/>
                  </a:lnTo>
                  <a:lnTo>
                    <a:pt x="20071" y="705"/>
                  </a:lnTo>
                  <a:lnTo>
                    <a:pt x="18972" y="0"/>
                  </a:lnTo>
                  <a:lnTo>
                    <a:pt x="18514" y="430"/>
                  </a:lnTo>
                  <a:lnTo>
                    <a:pt x="18354" y="1523"/>
                  </a:lnTo>
                  <a:lnTo>
                    <a:pt x="17731" y="802"/>
                  </a:lnTo>
                  <a:lnTo>
                    <a:pt x="16469" y="984"/>
                  </a:lnTo>
                  <a:lnTo>
                    <a:pt x="15528" y="1617"/>
                  </a:lnTo>
                  <a:lnTo>
                    <a:pt x="14947" y="2494"/>
                  </a:lnTo>
                  <a:lnTo>
                    <a:pt x="13721" y="2312"/>
                  </a:lnTo>
                  <a:lnTo>
                    <a:pt x="11020" y="2130"/>
                  </a:lnTo>
                  <a:lnTo>
                    <a:pt x="9792" y="2039"/>
                  </a:lnTo>
                  <a:lnTo>
                    <a:pt x="8352" y="2392"/>
                  </a:lnTo>
                  <a:lnTo>
                    <a:pt x="7818" y="3025"/>
                  </a:lnTo>
                  <a:lnTo>
                    <a:pt x="6699" y="4565"/>
                  </a:lnTo>
                  <a:lnTo>
                    <a:pt x="5633" y="4656"/>
                  </a:lnTo>
                  <a:lnTo>
                    <a:pt x="4834" y="5829"/>
                  </a:lnTo>
                  <a:lnTo>
                    <a:pt x="4445" y="7866"/>
                  </a:lnTo>
                  <a:close/>
                </a:path>
              </a:pathLst>
            </a:custGeom>
            <a:grpFill/>
            <a:ln w="25400" cap="flat">
              <a:noFill/>
              <a:prstDash val="solid"/>
              <a:miter lim="400000"/>
            </a:ln>
            <a:effectLst/>
          </p:spPr>
          <p:txBody>
            <a:bodyPr anchor="ctr"/>
            <a:lstStyle/>
            <a:p>
              <a:pPr algn="ctr"/>
              <a:endParaRPr/>
            </a:p>
          </p:txBody>
        </p:sp>
        <p:sp>
          <p:nvSpPr>
            <p:cNvPr id="119" name="îṣľíḍe">
              <a:extLst>
                <a:ext uri="{FF2B5EF4-FFF2-40B4-BE49-F238E27FC236}">
                  <a16:creationId xmlns:a16="http://schemas.microsoft.com/office/drawing/2014/main" id="{987E3958-C577-414D-A8D1-C28E02B223C1}"/>
                </a:ext>
              </a:extLst>
            </p:cNvPr>
            <p:cNvSpPr/>
            <p:nvPr/>
          </p:nvSpPr>
          <p:spPr>
            <a:xfrm>
              <a:off x="5869377" y="1326101"/>
              <a:ext cx="358160" cy="136980"/>
            </a:xfrm>
            <a:custGeom>
              <a:avLst/>
              <a:gdLst/>
              <a:ahLst/>
              <a:cxnLst>
                <a:cxn ang="0">
                  <a:pos x="wd2" y="hd2"/>
                </a:cxn>
                <a:cxn ang="5400000">
                  <a:pos x="wd2" y="hd2"/>
                </a:cxn>
                <a:cxn ang="10800000">
                  <a:pos x="wd2" y="hd2"/>
                </a:cxn>
                <a:cxn ang="16200000">
                  <a:pos x="wd2" y="hd2"/>
                </a:cxn>
              </a:cxnLst>
              <a:rect l="0" t="0" r="r" b="b"/>
              <a:pathLst>
                <a:path w="21600" h="21600" extrusionOk="0">
                  <a:moveTo>
                    <a:pt x="21036" y="2810"/>
                  </a:moveTo>
                  <a:lnTo>
                    <a:pt x="18126" y="2696"/>
                  </a:lnTo>
                  <a:lnTo>
                    <a:pt x="15876" y="2514"/>
                  </a:lnTo>
                  <a:lnTo>
                    <a:pt x="14560" y="2399"/>
                  </a:lnTo>
                  <a:lnTo>
                    <a:pt x="13964" y="607"/>
                  </a:lnTo>
                  <a:lnTo>
                    <a:pt x="13265" y="0"/>
                  </a:lnTo>
                  <a:lnTo>
                    <a:pt x="13209" y="2844"/>
                  </a:lnTo>
                  <a:lnTo>
                    <a:pt x="12490" y="2839"/>
                  </a:lnTo>
                  <a:lnTo>
                    <a:pt x="12105" y="3909"/>
                  </a:lnTo>
                  <a:lnTo>
                    <a:pt x="12121" y="6612"/>
                  </a:lnTo>
                  <a:lnTo>
                    <a:pt x="11757" y="7673"/>
                  </a:lnTo>
                  <a:lnTo>
                    <a:pt x="11102" y="6284"/>
                  </a:lnTo>
                  <a:lnTo>
                    <a:pt x="11237" y="3700"/>
                  </a:lnTo>
                  <a:lnTo>
                    <a:pt x="10419" y="2546"/>
                  </a:lnTo>
                  <a:lnTo>
                    <a:pt x="9953" y="4134"/>
                  </a:lnTo>
                  <a:lnTo>
                    <a:pt x="9148" y="5886"/>
                  </a:lnTo>
                  <a:lnTo>
                    <a:pt x="7705" y="5408"/>
                  </a:lnTo>
                  <a:lnTo>
                    <a:pt x="6697" y="5288"/>
                  </a:lnTo>
                  <a:lnTo>
                    <a:pt x="6009" y="4218"/>
                  </a:lnTo>
                  <a:lnTo>
                    <a:pt x="5379" y="3745"/>
                  </a:lnTo>
                  <a:lnTo>
                    <a:pt x="2617" y="4347"/>
                  </a:lnTo>
                  <a:lnTo>
                    <a:pt x="1144" y="3636"/>
                  </a:lnTo>
                  <a:lnTo>
                    <a:pt x="135" y="4591"/>
                  </a:lnTo>
                  <a:lnTo>
                    <a:pt x="0" y="6851"/>
                  </a:lnTo>
                  <a:lnTo>
                    <a:pt x="1109" y="8265"/>
                  </a:lnTo>
                  <a:lnTo>
                    <a:pt x="1858" y="9728"/>
                  </a:lnTo>
                  <a:lnTo>
                    <a:pt x="2773" y="10918"/>
                  </a:lnTo>
                  <a:lnTo>
                    <a:pt x="3798" y="10560"/>
                  </a:lnTo>
                  <a:lnTo>
                    <a:pt x="4488" y="11864"/>
                  </a:lnTo>
                  <a:lnTo>
                    <a:pt x="5238" y="12297"/>
                  </a:lnTo>
                  <a:lnTo>
                    <a:pt x="5238" y="9037"/>
                  </a:lnTo>
                  <a:lnTo>
                    <a:pt x="6816" y="8599"/>
                  </a:lnTo>
                  <a:lnTo>
                    <a:pt x="6769" y="11506"/>
                  </a:lnTo>
                  <a:lnTo>
                    <a:pt x="6906" y="13288"/>
                  </a:lnTo>
                  <a:lnTo>
                    <a:pt x="4182" y="13367"/>
                  </a:lnTo>
                  <a:lnTo>
                    <a:pt x="4105" y="14562"/>
                  </a:lnTo>
                  <a:lnTo>
                    <a:pt x="4611" y="15358"/>
                  </a:lnTo>
                  <a:lnTo>
                    <a:pt x="5606" y="16747"/>
                  </a:lnTo>
                  <a:lnTo>
                    <a:pt x="7302" y="19415"/>
                  </a:lnTo>
                  <a:lnTo>
                    <a:pt x="8040" y="21600"/>
                  </a:lnTo>
                  <a:lnTo>
                    <a:pt x="8822" y="21485"/>
                  </a:lnTo>
                  <a:lnTo>
                    <a:pt x="9465" y="18116"/>
                  </a:lnTo>
                  <a:lnTo>
                    <a:pt x="9649" y="15258"/>
                  </a:lnTo>
                  <a:lnTo>
                    <a:pt x="10369" y="13745"/>
                  </a:lnTo>
                  <a:lnTo>
                    <a:pt x="11287" y="14343"/>
                  </a:lnTo>
                  <a:lnTo>
                    <a:pt x="11640" y="11993"/>
                  </a:lnTo>
                  <a:lnTo>
                    <a:pt x="11640" y="9136"/>
                  </a:lnTo>
                  <a:lnTo>
                    <a:pt x="13126" y="8703"/>
                  </a:lnTo>
                  <a:lnTo>
                    <a:pt x="14029" y="10490"/>
                  </a:lnTo>
                  <a:lnTo>
                    <a:pt x="14715" y="12003"/>
                  </a:lnTo>
                  <a:lnTo>
                    <a:pt x="14303" y="13193"/>
                  </a:lnTo>
                  <a:lnTo>
                    <a:pt x="13891" y="14507"/>
                  </a:lnTo>
                  <a:lnTo>
                    <a:pt x="14441" y="16856"/>
                  </a:lnTo>
                  <a:lnTo>
                    <a:pt x="15346" y="16264"/>
                  </a:lnTo>
                  <a:lnTo>
                    <a:pt x="15759" y="14472"/>
                  </a:lnTo>
                  <a:lnTo>
                    <a:pt x="16864" y="14472"/>
                  </a:lnTo>
                  <a:lnTo>
                    <a:pt x="17370" y="15303"/>
                  </a:lnTo>
                  <a:lnTo>
                    <a:pt x="17732" y="17409"/>
                  </a:lnTo>
                  <a:lnTo>
                    <a:pt x="18407" y="16692"/>
                  </a:lnTo>
                  <a:lnTo>
                    <a:pt x="19503" y="15398"/>
                  </a:lnTo>
                  <a:lnTo>
                    <a:pt x="18539" y="14208"/>
                  </a:lnTo>
                  <a:lnTo>
                    <a:pt x="18004" y="13969"/>
                  </a:lnTo>
                  <a:lnTo>
                    <a:pt x="17870" y="12460"/>
                  </a:lnTo>
                  <a:lnTo>
                    <a:pt x="17136" y="11630"/>
                  </a:lnTo>
                  <a:lnTo>
                    <a:pt x="15759" y="11037"/>
                  </a:lnTo>
                  <a:lnTo>
                    <a:pt x="14891" y="9608"/>
                  </a:lnTo>
                  <a:lnTo>
                    <a:pt x="14017" y="8334"/>
                  </a:lnTo>
                  <a:lnTo>
                    <a:pt x="13655" y="7742"/>
                  </a:lnTo>
                  <a:lnTo>
                    <a:pt x="13563" y="5253"/>
                  </a:lnTo>
                  <a:lnTo>
                    <a:pt x="14253" y="4895"/>
                  </a:lnTo>
                  <a:lnTo>
                    <a:pt x="14864" y="7105"/>
                  </a:lnTo>
                  <a:lnTo>
                    <a:pt x="16948" y="7941"/>
                  </a:lnTo>
                  <a:lnTo>
                    <a:pt x="18002" y="8891"/>
                  </a:lnTo>
                  <a:lnTo>
                    <a:pt x="19472" y="7458"/>
                  </a:lnTo>
                  <a:lnTo>
                    <a:pt x="20699" y="6542"/>
                  </a:lnTo>
                  <a:lnTo>
                    <a:pt x="21374" y="4805"/>
                  </a:lnTo>
                  <a:lnTo>
                    <a:pt x="21600" y="3028"/>
                  </a:lnTo>
                  <a:lnTo>
                    <a:pt x="21036" y="2810"/>
                  </a:lnTo>
                  <a:close/>
                </a:path>
              </a:pathLst>
            </a:custGeom>
            <a:grpFill/>
            <a:ln w="25400" cap="flat">
              <a:noFill/>
              <a:prstDash val="solid"/>
              <a:miter lim="400000"/>
            </a:ln>
            <a:effectLst/>
          </p:spPr>
          <p:txBody>
            <a:bodyPr anchor="ctr"/>
            <a:lstStyle/>
            <a:p>
              <a:pPr algn="ctr"/>
              <a:endParaRPr/>
            </a:p>
          </p:txBody>
        </p:sp>
        <p:sp>
          <p:nvSpPr>
            <p:cNvPr id="120" name="îṩlîḑè">
              <a:extLst>
                <a:ext uri="{FF2B5EF4-FFF2-40B4-BE49-F238E27FC236}">
                  <a16:creationId xmlns:a16="http://schemas.microsoft.com/office/drawing/2014/main" id="{B3E8AD52-6AD7-4495-9B1D-62531F4A6526}"/>
                </a:ext>
              </a:extLst>
            </p:cNvPr>
            <p:cNvSpPr/>
            <p:nvPr/>
          </p:nvSpPr>
          <p:spPr>
            <a:xfrm>
              <a:off x="5016160" y="1729403"/>
              <a:ext cx="228706" cy="93668"/>
            </a:xfrm>
            <a:custGeom>
              <a:avLst/>
              <a:gdLst/>
              <a:ahLst/>
              <a:cxnLst>
                <a:cxn ang="0">
                  <a:pos x="wd2" y="hd2"/>
                </a:cxn>
                <a:cxn ang="5400000">
                  <a:pos x="wd2" y="hd2"/>
                </a:cxn>
                <a:cxn ang="10800000">
                  <a:pos x="wd2" y="hd2"/>
                </a:cxn>
                <a:cxn ang="16200000">
                  <a:pos x="wd2" y="hd2"/>
                </a:cxn>
              </a:cxnLst>
              <a:rect l="0" t="0" r="r" b="b"/>
              <a:pathLst>
                <a:path w="21600" h="21600" extrusionOk="0">
                  <a:moveTo>
                    <a:pt x="17441" y="270"/>
                  </a:moveTo>
                  <a:lnTo>
                    <a:pt x="15742" y="0"/>
                  </a:lnTo>
                  <a:lnTo>
                    <a:pt x="14405" y="1481"/>
                  </a:lnTo>
                  <a:lnTo>
                    <a:pt x="12187" y="4101"/>
                  </a:lnTo>
                  <a:lnTo>
                    <a:pt x="10897" y="4101"/>
                  </a:lnTo>
                  <a:lnTo>
                    <a:pt x="8628" y="1546"/>
                  </a:lnTo>
                  <a:lnTo>
                    <a:pt x="6724" y="2070"/>
                  </a:lnTo>
                  <a:lnTo>
                    <a:pt x="5296" y="4167"/>
                  </a:lnTo>
                  <a:lnTo>
                    <a:pt x="1948" y="7428"/>
                  </a:lnTo>
                  <a:lnTo>
                    <a:pt x="1232" y="7428"/>
                  </a:lnTo>
                  <a:lnTo>
                    <a:pt x="0" y="9510"/>
                  </a:lnTo>
                  <a:lnTo>
                    <a:pt x="92" y="13288"/>
                  </a:lnTo>
                  <a:lnTo>
                    <a:pt x="773" y="15544"/>
                  </a:lnTo>
                  <a:lnTo>
                    <a:pt x="2067" y="12989"/>
                  </a:lnTo>
                  <a:lnTo>
                    <a:pt x="3646" y="15959"/>
                  </a:lnTo>
                  <a:cubicBezTo>
                    <a:pt x="4278" y="16734"/>
                    <a:pt x="4893" y="17587"/>
                    <a:pt x="5489" y="18514"/>
                  </a:cubicBezTo>
                  <a:cubicBezTo>
                    <a:pt x="6102" y="19467"/>
                    <a:pt x="6694" y="20497"/>
                    <a:pt x="7263" y="21600"/>
                  </a:cubicBezTo>
                  <a:lnTo>
                    <a:pt x="8821" y="21600"/>
                  </a:lnTo>
                  <a:lnTo>
                    <a:pt x="10787" y="16890"/>
                  </a:lnTo>
                  <a:lnTo>
                    <a:pt x="12583" y="16890"/>
                  </a:lnTo>
                  <a:lnTo>
                    <a:pt x="15533" y="16716"/>
                  </a:lnTo>
                  <a:lnTo>
                    <a:pt x="17142" y="13513"/>
                  </a:lnTo>
                  <a:lnTo>
                    <a:pt x="18721" y="10914"/>
                  </a:lnTo>
                  <a:lnTo>
                    <a:pt x="20955" y="10041"/>
                  </a:lnTo>
                  <a:lnTo>
                    <a:pt x="21600" y="8323"/>
                  </a:lnTo>
                  <a:lnTo>
                    <a:pt x="20688" y="4902"/>
                  </a:lnTo>
                  <a:lnTo>
                    <a:pt x="19658" y="3045"/>
                  </a:lnTo>
                  <a:lnTo>
                    <a:pt x="18823" y="1655"/>
                  </a:lnTo>
                  <a:lnTo>
                    <a:pt x="17441" y="270"/>
                  </a:lnTo>
                  <a:close/>
                </a:path>
              </a:pathLst>
            </a:custGeom>
            <a:grpFill/>
            <a:ln w="25400" cap="flat">
              <a:noFill/>
              <a:prstDash val="solid"/>
              <a:miter lim="400000"/>
            </a:ln>
            <a:effectLst/>
          </p:spPr>
          <p:txBody>
            <a:bodyPr anchor="ctr"/>
            <a:lstStyle/>
            <a:p>
              <a:pPr algn="ctr"/>
              <a:endParaRPr/>
            </a:p>
          </p:txBody>
        </p:sp>
        <p:sp>
          <p:nvSpPr>
            <p:cNvPr id="121" name="iślïďe">
              <a:extLst>
                <a:ext uri="{FF2B5EF4-FFF2-40B4-BE49-F238E27FC236}">
                  <a16:creationId xmlns:a16="http://schemas.microsoft.com/office/drawing/2014/main" id="{3A6378EA-6577-4684-96DA-C9668868FA8A}"/>
                </a:ext>
              </a:extLst>
            </p:cNvPr>
            <p:cNvSpPr/>
            <p:nvPr/>
          </p:nvSpPr>
          <p:spPr>
            <a:xfrm>
              <a:off x="5414902" y="1601282"/>
              <a:ext cx="41288" cy="20045"/>
            </a:xfrm>
            <a:custGeom>
              <a:avLst/>
              <a:gdLst/>
              <a:ahLst/>
              <a:cxnLst>
                <a:cxn ang="0">
                  <a:pos x="wd2" y="hd2"/>
                </a:cxn>
                <a:cxn ang="5400000">
                  <a:pos x="wd2" y="hd2"/>
                </a:cxn>
                <a:cxn ang="10800000">
                  <a:pos x="wd2" y="hd2"/>
                </a:cxn>
                <a:cxn ang="16200000">
                  <a:pos x="wd2" y="hd2"/>
                </a:cxn>
              </a:cxnLst>
              <a:rect l="0" t="0" r="r" b="b"/>
              <a:pathLst>
                <a:path w="21600" h="21600" extrusionOk="0">
                  <a:moveTo>
                    <a:pt x="15176" y="0"/>
                  </a:moveTo>
                  <a:lnTo>
                    <a:pt x="10983" y="4657"/>
                  </a:lnTo>
                  <a:lnTo>
                    <a:pt x="5919" y="4185"/>
                  </a:lnTo>
                  <a:lnTo>
                    <a:pt x="0" y="5818"/>
                  </a:lnTo>
                  <a:lnTo>
                    <a:pt x="17" y="18606"/>
                  </a:lnTo>
                  <a:lnTo>
                    <a:pt x="11091" y="21600"/>
                  </a:lnTo>
                  <a:lnTo>
                    <a:pt x="21600" y="16735"/>
                  </a:lnTo>
                  <a:lnTo>
                    <a:pt x="21483" y="2347"/>
                  </a:lnTo>
                  <a:lnTo>
                    <a:pt x="15176" y="0"/>
                  </a:lnTo>
                  <a:close/>
                </a:path>
              </a:pathLst>
            </a:custGeom>
            <a:grpFill/>
            <a:ln w="25400" cap="flat">
              <a:noFill/>
              <a:prstDash val="solid"/>
              <a:miter lim="400000"/>
            </a:ln>
            <a:effectLst/>
          </p:spPr>
          <p:txBody>
            <a:bodyPr anchor="ctr"/>
            <a:lstStyle/>
            <a:p>
              <a:pPr algn="ctr"/>
              <a:endParaRPr/>
            </a:p>
          </p:txBody>
        </p:sp>
        <p:sp>
          <p:nvSpPr>
            <p:cNvPr id="122" name="îṥḷîḓê">
              <a:extLst>
                <a:ext uri="{FF2B5EF4-FFF2-40B4-BE49-F238E27FC236}">
                  <a16:creationId xmlns:a16="http://schemas.microsoft.com/office/drawing/2014/main" id="{264982FF-C13B-4AA3-8F43-7587357DC00B}"/>
                </a:ext>
              </a:extLst>
            </p:cNvPr>
            <p:cNvSpPr/>
            <p:nvPr/>
          </p:nvSpPr>
          <p:spPr>
            <a:xfrm>
              <a:off x="5426458" y="1837882"/>
              <a:ext cx="35170" cy="22995"/>
            </a:xfrm>
            <a:custGeom>
              <a:avLst/>
              <a:gdLst/>
              <a:ahLst/>
              <a:cxnLst>
                <a:cxn ang="0">
                  <a:pos x="wd2" y="hd2"/>
                </a:cxn>
                <a:cxn ang="5400000">
                  <a:pos x="wd2" y="hd2"/>
                </a:cxn>
                <a:cxn ang="10800000">
                  <a:pos x="wd2" y="hd2"/>
                </a:cxn>
                <a:cxn ang="16200000">
                  <a:pos x="wd2" y="hd2"/>
                </a:cxn>
              </a:cxnLst>
              <a:rect l="0" t="0" r="r" b="b"/>
              <a:pathLst>
                <a:path w="21600" h="21600" extrusionOk="0">
                  <a:moveTo>
                    <a:pt x="9779" y="0"/>
                  </a:moveTo>
                  <a:lnTo>
                    <a:pt x="0" y="1898"/>
                  </a:lnTo>
                  <a:lnTo>
                    <a:pt x="497" y="14515"/>
                  </a:lnTo>
                  <a:lnTo>
                    <a:pt x="10043" y="15938"/>
                  </a:lnTo>
                  <a:lnTo>
                    <a:pt x="21600" y="21600"/>
                  </a:lnTo>
                  <a:lnTo>
                    <a:pt x="18457" y="5083"/>
                  </a:lnTo>
                  <a:lnTo>
                    <a:pt x="9779" y="0"/>
                  </a:lnTo>
                  <a:close/>
                </a:path>
              </a:pathLst>
            </a:custGeom>
            <a:grpFill/>
            <a:ln w="25400" cap="flat">
              <a:noFill/>
              <a:prstDash val="solid"/>
              <a:miter lim="400000"/>
            </a:ln>
            <a:effectLst/>
          </p:spPr>
          <p:txBody>
            <a:bodyPr anchor="ctr"/>
            <a:lstStyle/>
            <a:p>
              <a:pPr algn="ctr"/>
              <a:endParaRPr/>
            </a:p>
          </p:txBody>
        </p:sp>
        <p:sp>
          <p:nvSpPr>
            <p:cNvPr id="123" name="ïṣļïḋê">
              <a:extLst>
                <a:ext uri="{FF2B5EF4-FFF2-40B4-BE49-F238E27FC236}">
                  <a16:creationId xmlns:a16="http://schemas.microsoft.com/office/drawing/2014/main" id="{CB002FA2-2E97-4152-A87D-333528B614D3}"/>
                </a:ext>
              </a:extLst>
            </p:cNvPr>
            <p:cNvSpPr/>
            <p:nvPr/>
          </p:nvSpPr>
          <p:spPr>
            <a:xfrm>
              <a:off x="5430421" y="1863360"/>
              <a:ext cx="21346" cy="16360"/>
            </a:xfrm>
            <a:custGeom>
              <a:avLst/>
              <a:gdLst/>
              <a:ahLst/>
              <a:cxnLst>
                <a:cxn ang="0">
                  <a:pos x="wd2" y="hd2"/>
                </a:cxn>
                <a:cxn ang="5400000">
                  <a:pos x="wd2" y="hd2"/>
                </a:cxn>
                <a:cxn ang="10800000">
                  <a:pos x="wd2" y="hd2"/>
                </a:cxn>
                <a:cxn ang="16200000">
                  <a:pos x="wd2" y="hd2"/>
                </a:cxn>
              </a:cxnLst>
              <a:rect l="0" t="0" r="r" b="b"/>
              <a:pathLst>
                <a:path w="21600" h="21600" extrusionOk="0">
                  <a:moveTo>
                    <a:pt x="12170" y="2345"/>
                  </a:moveTo>
                  <a:lnTo>
                    <a:pt x="2749" y="0"/>
                  </a:lnTo>
                  <a:lnTo>
                    <a:pt x="0" y="17437"/>
                  </a:lnTo>
                  <a:lnTo>
                    <a:pt x="16227" y="21600"/>
                  </a:lnTo>
                  <a:lnTo>
                    <a:pt x="21600" y="10871"/>
                  </a:lnTo>
                  <a:lnTo>
                    <a:pt x="12170" y="2345"/>
                  </a:lnTo>
                  <a:close/>
                </a:path>
              </a:pathLst>
            </a:custGeom>
            <a:grpFill/>
            <a:ln w="25400" cap="flat">
              <a:noFill/>
              <a:prstDash val="solid"/>
              <a:miter lim="400000"/>
            </a:ln>
            <a:effectLst/>
          </p:spPr>
          <p:txBody>
            <a:bodyPr anchor="ctr"/>
            <a:lstStyle/>
            <a:p>
              <a:pPr algn="ctr"/>
              <a:endParaRPr/>
            </a:p>
          </p:txBody>
        </p:sp>
        <p:sp>
          <p:nvSpPr>
            <p:cNvPr id="124" name="iṧ1ídê">
              <a:extLst>
                <a:ext uri="{FF2B5EF4-FFF2-40B4-BE49-F238E27FC236}">
                  <a16:creationId xmlns:a16="http://schemas.microsoft.com/office/drawing/2014/main" id="{E161C785-1873-4ABB-9AF8-62E882920260}"/>
                </a:ext>
              </a:extLst>
            </p:cNvPr>
            <p:cNvSpPr/>
            <p:nvPr/>
          </p:nvSpPr>
          <p:spPr>
            <a:xfrm>
              <a:off x="5276566" y="2090226"/>
              <a:ext cx="141495" cy="136887"/>
            </a:xfrm>
            <a:custGeom>
              <a:avLst/>
              <a:gdLst/>
              <a:ahLst/>
              <a:cxnLst>
                <a:cxn ang="0">
                  <a:pos x="wd2" y="hd2"/>
                </a:cxn>
                <a:cxn ang="5400000">
                  <a:pos x="wd2" y="hd2"/>
                </a:cxn>
                <a:cxn ang="10800000">
                  <a:pos x="wd2" y="hd2"/>
                </a:cxn>
                <a:cxn ang="16200000">
                  <a:pos x="wd2" y="hd2"/>
                </a:cxn>
              </a:cxnLst>
              <a:rect l="0" t="0" r="r" b="b"/>
              <a:pathLst>
                <a:path w="21600" h="21600" extrusionOk="0">
                  <a:moveTo>
                    <a:pt x="15382" y="115"/>
                  </a:moveTo>
                  <a:lnTo>
                    <a:pt x="11359" y="0"/>
                  </a:lnTo>
                  <a:lnTo>
                    <a:pt x="9153" y="2568"/>
                  </a:lnTo>
                  <a:lnTo>
                    <a:pt x="6986" y="4361"/>
                  </a:lnTo>
                  <a:lnTo>
                    <a:pt x="4456" y="4002"/>
                  </a:lnTo>
                  <a:lnTo>
                    <a:pt x="1440" y="5073"/>
                  </a:lnTo>
                  <a:lnTo>
                    <a:pt x="1800" y="7574"/>
                  </a:lnTo>
                  <a:lnTo>
                    <a:pt x="3652" y="8406"/>
                  </a:lnTo>
                  <a:lnTo>
                    <a:pt x="4457" y="9915"/>
                  </a:lnTo>
                  <a:lnTo>
                    <a:pt x="3642" y="11583"/>
                  </a:lnTo>
                  <a:lnTo>
                    <a:pt x="2953" y="12535"/>
                  </a:lnTo>
                  <a:lnTo>
                    <a:pt x="2371" y="14995"/>
                  </a:lnTo>
                  <a:lnTo>
                    <a:pt x="42" y="15588"/>
                  </a:lnTo>
                  <a:lnTo>
                    <a:pt x="0" y="17102"/>
                  </a:lnTo>
                  <a:lnTo>
                    <a:pt x="974" y="18138"/>
                  </a:lnTo>
                  <a:lnTo>
                    <a:pt x="1672" y="20768"/>
                  </a:lnTo>
                  <a:lnTo>
                    <a:pt x="3483" y="21600"/>
                  </a:lnTo>
                  <a:lnTo>
                    <a:pt x="5773" y="20165"/>
                  </a:lnTo>
                  <a:lnTo>
                    <a:pt x="8334" y="18253"/>
                  </a:lnTo>
                  <a:lnTo>
                    <a:pt x="10697" y="17097"/>
                  </a:lnTo>
                  <a:cubicBezTo>
                    <a:pt x="11878" y="17476"/>
                    <a:pt x="13148" y="17434"/>
                    <a:pt x="14302" y="16978"/>
                  </a:cubicBezTo>
                  <a:cubicBezTo>
                    <a:pt x="14998" y="16703"/>
                    <a:pt x="15630" y="16284"/>
                    <a:pt x="16161" y="15748"/>
                  </a:cubicBezTo>
                  <a:cubicBezTo>
                    <a:pt x="16616" y="15267"/>
                    <a:pt x="16972" y="14698"/>
                    <a:pt x="17209" y="14074"/>
                  </a:cubicBezTo>
                  <a:cubicBezTo>
                    <a:pt x="17751" y="12641"/>
                    <a:pt x="17639" y="11035"/>
                    <a:pt x="16903" y="9696"/>
                  </a:cubicBezTo>
                  <a:lnTo>
                    <a:pt x="17252" y="7434"/>
                  </a:lnTo>
                  <a:lnTo>
                    <a:pt x="18650" y="5686"/>
                  </a:lnTo>
                  <a:lnTo>
                    <a:pt x="20358" y="4730"/>
                  </a:lnTo>
                  <a:lnTo>
                    <a:pt x="21600" y="2658"/>
                  </a:lnTo>
                  <a:lnTo>
                    <a:pt x="19703" y="870"/>
                  </a:lnTo>
                  <a:lnTo>
                    <a:pt x="16922" y="162"/>
                  </a:lnTo>
                  <a:lnTo>
                    <a:pt x="15382" y="115"/>
                  </a:lnTo>
                  <a:close/>
                </a:path>
              </a:pathLst>
            </a:custGeom>
            <a:grpFill/>
            <a:ln w="25400" cap="flat">
              <a:noFill/>
              <a:prstDash val="solid"/>
              <a:miter lim="400000"/>
            </a:ln>
            <a:effectLst/>
          </p:spPr>
          <p:txBody>
            <a:bodyPr anchor="ctr"/>
            <a:lstStyle/>
            <a:p>
              <a:pPr algn="ctr"/>
              <a:endParaRPr/>
            </a:p>
          </p:txBody>
        </p:sp>
        <p:sp>
          <p:nvSpPr>
            <p:cNvPr id="125" name="îśļîḓe">
              <a:extLst>
                <a:ext uri="{FF2B5EF4-FFF2-40B4-BE49-F238E27FC236}">
                  <a16:creationId xmlns:a16="http://schemas.microsoft.com/office/drawing/2014/main" id="{F23DA1AE-1979-46E1-AF1E-057332CE50FC}"/>
                </a:ext>
              </a:extLst>
            </p:cNvPr>
            <p:cNvSpPr/>
            <p:nvPr/>
          </p:nvSpPr>
          <p:spPr>
            <a:xfrm>
              <a:off x="5407156" y="1993299"/>
              <a:ext cx="206900" cy="271619"/>
            </a:xfrm>
            <a:custGeom>
              <a:avLst/>
              <a:gdLst/>
              <a:ahLst/>
              <a:cxnLst>
                <a:cxn ang="0">
                  <a:pos x="wd2" y="hd2"/>
                </a:cxn>
                <a:cxn ang="5400000">
                  <a:pos x="wd2" y="hd2"/>
                </a:cxn>
                <a:cxn ang="10800000">
                  <a:pos x="wd2" y="hd2"/>
                </a:cxn>
                <a:cxn ang="16200000">
                  <a:pos x="wd2" y="hd2"/>
                </a:cxn>
              </a:cxnLst>
              <a:rect l="0" t="0" r="r" b="b"/>
              <a:pathLst>
                <a:path w="21600" h="21600" extrusionOk="0">
                  <a:moveTo>
                    <a:pt x="6288" y="0"/>
                  </a:moveTo>
                  <a:lnTo>
                    <a:pt x="5027" y="806"/>
                  </a:lnTo>
                  <a:lnTo>
                    <a:pt x="3705" y="828"/>
                  </a:lnTo>
                  <a:lnTo>
                    <a:pt x="3047" y="1789"/>
                  </a:lnTo>
                  <a:lnTo>
                    <a:pt x="3106" y="2665"/>
                  </a:lnTo>
                  <a:lnTo>
                    <a:pt x="2104" y="3622"/>
                  </a:lnTo>
                  <a:lnTo>
                    <a:pt x="2256" y="4561"/>
                  </a:lnTo>
                  <a:lnTo>
                    <a:pt x="3288" y="5341"/>
                  </a:lnTo>
                  <a:lnTo>
                    <a:pt x="4241" y="6303"/>
                  </a:lnTo>
                  <a:lnTo>
                    <a:pt x="3288" y="6900"/>
                  </a:lnTo>
                  <a:lnTo>
                    <a:pt x="3129" y="7663"/>
                  </a:lnTo>
                  <a:cubicBezTo>
                    <a:pt x="3378" y="7883"/>
                    <a:pt x="3663" y="8077"/>
                    <a:pt x="3979" y="8241"/>
                  </a:cubicBezTo>
                  <a:cubicBezTo>
                    <a:pt x="4404" y="8461"/>
                    <a:pt x="4878" y="8624"/>
                    <a:pt x="5379" y="8720"/>
                  </a:cubicBezTo>
                  <a:lnTo>
                    <a:pt x="6013" y="7816"/>
                  </a:lnTo>
                  <a:lnTo>
                    <a:pt x="7340" y="7877"/>
                  </a:lnTo>
                  <a:lnTo>
                    <a:pt x="8475" y="8655"/>
                  </a:lnTo>
                  <a:lnTo>
                    <a:pt x="8475" y="9799"/>
                  </a:lnTo>
                  <a:cubicBezTo>
                    <a:pt x="8649" y="10161"/>
                    <a:pt x="8756" y="10540"/>
                    <a:pt x="8794" y="10924"/>
                  </a:cubicBezTo>
                  <a:cubicBezTo>
                    <a:pt x="8852" y="11516"/>
                    <a:pt x="8744" y="12110"/>
                    <a:pt x="8478" y="12668"/>
                  </a:cubicBezTo>
                  <a:lnTo>
                    <a:pt x="6756" y="12970"/>
                  </a:lnTo>
                  <a:lnTo>
                    <a:pt x="5830" y="13030"/>
                  </a:lnTo>
                  <a:lnTo>
                    <a:pt x="3796" y="13504"/>
                  </a:lnTo>
                  <a:lnTo>
                    <a:pt x="3975" y="14368"/>
                  </a:lnTo>
                  <a:lnTo>
                    <a:pt x="4901" y="14529"/>
                  </a:lnTo>
                  <a:lnTo>
                    <a:pt x="4662" y="15465"/>
                  </a:lnTo>
                  <a:lnTo>
                    <a:pt x="3020" y="15884"/>
                  </a:lnTo>
                  <a:lnTo>
                    <a:pt x="2091" y="16123"/>
                  </a:lnTo>
                  <a:lnTo>
                    <a:pt x="3022" y="16841"/>
                  </a:lnTo>
                  <a:lnTo>
                    <a:pt x="4564" y="17538"/>
                  </a:lnTo>
                  <a:lnTo>
                    <a:pt x="5725" y="17538"/>
                  </a:lnTo>
                  <a:lnTo>
                    <a:pt x="8134" y="17880"/>
                  </a:lnTo>
                  <a:lnTo>
                    <a:pt x="8426" y="18623"/>
                  </a:lnTo>
                  <a:lnTo>
                    <a:pt x="7232" y="19258"/>
                  </a:lnTo>
                  <a:lnTo>
                    <a:pt x="4232" y="19559"/>
                  </a:lnTo>
                  <a:lnTo>
                    <a:pt x="2642" y="20099"/>
                  </a:lnTo>
                  <a:lnTo>
                    <a:pt x="735" y="20340"/>
                  </a:lnTo>
                  <a:lnTo>
                    <a:pt x="0" y="21060"/>
                  </a:lnTo>
                  <a:lnTo>
                    <a:pt x="502" y="21600"/>
                  </a:lnTo>
                  <a:lnTo>
                    <a:pt x="2782" y="21359"/>
                  </a:lnTo>
                  <a:cubicBezTo>
                    <a:pt x="3310" y="21133"/>
                    <a:pt x="3861" y="20938"/>
                    <a:pt x="4428" y="20777"/>
                  </a:cubicBezTo>
                  <a:cubicBezTo>
                    <a:pt x="5234" y="20547"/>
                    <a:pt x="6071" y="20386"/>
                    <a:pt x="6924" y="20295"/>
                  </a:cubicBezTo>
                  <a:lnTo>
                    <a:pt x="8622" y="20174"/>
                  </a:lnTo>
                  <a:lnTo>
                    <a:pt x="11277" y="19873"/>
                  </a:lnTo>
                  <a:lnTo>
                    <a:pt x="12657" y="19753"/>
                  </a:lnTo>
                  <a:lnTo>
                    <a:pt x="14884" y="19050"/>
                  </a:lnTo>
                  <a:lnTo>
                    <a:pt x="16583" y="19391"/>
                  </a:lnTo>
                  <a:lnTo>
                    <a:pt x="19689" y="19030"/>
                  </a:lnTo>
                  <a:lnTo>
                    <a:pt x="18335" y="18548"/>
                  </a:lnTo>
                  <a:lnTo>
                    <a:pt x="16662" y="17767"/>
                  </a:lnTo>
                  <a:lnTo>
                    <a:pt x="21520" y="16502"/>
                  </a:lnTo>
                  <a:lnTo>
                    <a:pt x="21600" y="15842"/>
                  </a:lnTo>
                  <a:lnTo>
                    <a:pt x="21042" y="14238"/>
                  </a:lnTo>
                  <a:lnTo>
                    <a:pt x="19695" y="14120"/>
                  </a:lnTo>
                  <a:lnTo>
                    <a:pt x="18773" y="15157"/>
                  </a:lnTo>
                  <a:lnTo>
                    <a:pt x="16954" y="14916"/>
                  </a:lnTo>
                  <a:cubicBezTo>
                    <a:pt x="16658" y="14546"/>
                    <a:pt x="16446" y="14141"/>
                    <a:pt x="16327" y="13718"/>
                  </a:cubicBezTo>
                  <a:cubicBezTo>
                    <a:pt x="16175" y="13182"/>
                    <a:pt x="16175" y="12628"/>
                    <a:pt x="16327" y="12092"/>
                  </a:cubicBezTo>
                  <a:cubicBezTo>
                    <a:pt x="16208" y="11609"/>
                    <a:pt x="15994" y="11142"/>
                    <a:pt x="15690" y="10709"/>
                  </a:cubicBezTo>
                  <a:cubicBezTo>
                    <a:pt x="15360" y="10238"/>
                    <a:pt x="14929" y="9811"/>
                    <a:pt x="14416" y="9446"/>
                  </a:cubicBezTo>
                  <a:lnTo>
                    <a:pt x="13327" y="7779"/>
                  </a:lnTo>
                  <a:lnTo>
                    <a:pt x="10543" y="6097"/>
                  </a:lnTo>
                  <a:lnTo>
                    <a:pt x="8818" y="6097"/>
                  </a:lnTo>
                  <a:lnTo>
                    <a:pt x="7603" y="5799"/>
                  </a:lnTo>
                  <a:cubicBezTo>
                    <a:pt x="7249" y="5554"/>
                    <a:pt x="7071" y="5196"/>
                    <a:pt x="7125" y="4835"/>
                  </a:cubicBezTo>
                  <a:cubicBezTo>
                    <a:pt x="7216" y="4226"/>
                    <a:pt x="7901" y="3767"/>
                    <a:pt x="8711" y="3773"/>
                  </a:cubicBezTo>
                  <a:lnTo>
                    <a:pt x="10301" y="2689"/>
                  </a:lnTo>
                  <a:lnTo>
                    <a:pt x="8469" y="2151"/>
                  </a:lnTo>
                  <a:lnTo>
                    <a:pt x="6346" y="1730"/>
                  </a:lnTo>
                  <a:lnTo>
                    <a:pt x="6979" y="1072"/>
                  </a:lnTo>
                  <a:lnTo>
                    <a:pt x="7431" y="111"/>
                  </a:lnTo>
                  <a:lnTo>
                    <a:pt x="6288" y="0"/>
                  </a:lnTo>
                  <a:close/>
                </a:path>
              </a:pathLst>
            </a:custGeom>
            <a:grpFill/>
            <a:ln w="25400" cap="flat">
              <a:noFill/>
              <a:prstDash val="solid"/>
              <a:miter lim="400000"/>
            </a:ln>
            <a:effectLst/>
          </p:spPr>
          <p:txBody>
            <a:bodyPr anchor="ctr"/>
            <a:lstStyle/>
            <a:p>
              <a:pPr algn="ctr"/>
              <a:endParaRPr/>
            </a:p>
          </p:txBody>
        </p:sp>
        <p:sp>
          <p:nvSpPr>
            <p:cNvPr id="126" name="îş1îḓè">
              <a:extLst>
                <a:ext uri="{FF2B5EF4-FFF2-40B4-BE49-F238E27FC236}">
                  <a16:creationId xmlns:a16="http://schemas.microsoft.com/office/drawing/2014/main" id="{29718D3B-CFD6-4F57-812C-4ABC81D98672}"/>
                </a:ext>
              </a:extLst>
            </p:cNvPr>
            <p:cNvSpPr/>
            <p:nvPr/>
          </p:nvSpPr>
          <p:spPr>
            <a:xfrm>
              <a:off x="5439609" y="2113104"/>
              <a:ext cx="16360" cy="21150"/>
            </a:xfrm>
            <a:custGeom>
              <a:avLst/>
              <a:gdLst/>
              <a:ahLst/>
              <a:cxnLst>
                <a:cxn ang="0">
                  <a:pos x="wd2" y="hd2"/>
                </a:cxn>
                <a:cxn ang="5400000">
                  <a:pos x="wd2" y="hd2"/>
                </a:cxn>
                <a:cxn ang="10800000">
                  <a:pos x="wd2" y="hd2"/>
                </a:cxn>
                <a:cxn ang="16200000">
                  <a:pos x="wd2" y="hd2"/>
                </a:cxn>
              </a:cxnLst>
              <a:rect l="0" t="0" r="r" b="b"/>
              <a:pathLst>
                <a:path w="21600" h="21600" extrusionOk="0">
                  <a:moveTo>
                    <a:pt x="4405" y="858"/>
                  </a:moveTo>
                  <a:lnTo>
                    <a:pt x="0" y="8854"/>
                  </a:lnTo>
                  <a:lnTo>
                    <a:pt x="5633" y="18505"/>
                  </a:lnTo>
                  <a:lnTo>
                    <a:pt x="16548" y="21600"/>
                  </a:lnTo>
                  <a:lnTo>
                    <a:pt x="21600" y="10060"/>
                  </a:lnTo>
                  <a:lnTo>
                    <a:pt x="18861" y="0"/>
                  </a:lnTo>
                  <a:lnTo>
                    <a:pt x="4405" y="858"/>
                  </a:lnTo>
                  <a:close/>
                </a:path>
              </a:pathLst>
            </a:custGeom>
            <a:grpFill/>
            <a:ln w="25400" cap="flat">
              <a:noFill/>
              <a:prstDash val="solid"/>
              <a:miter lim="400000"/>
            </a:ln>
            <a:effectLst/>
          </p:spPr>
          <p:txBody>
            <a:bodyPr anchor="ctr"/>
            <a:lstStyle/>
            <a:p>
              <a:pPr algn="ctr"/>
              <a:endParaRPr/>
            </a:p>
          </p:txBody>
        </p:sp>
        <p:sp>
          <p:nvSpPr>
            <p:cNvPr id="127" name="ïŝḻidé">
              <a:extLst>
                <a:ext uri="{FF2B5EF4-FFF2-40B4-BE49-F238E27FC236}">
                  <a16:creationId xmlns:a16="http://schemas.microsoft.com/office/drawing/2014/main" id="{C0664E3D-0464-4BBC-BC4D-208B97592BDA}"/>
                </a:ext>
              </a:extLst>
            </p:cNvPr>
            <p:cNvSpPr/>
            <p:nvPr/>
          </p:nvSpPr>
          <p:spPr>
            <a:xfrm>
              <a:off x="5461229" y="2281207"/>
              <a:ext cx="17764" cy="16360"/>
            </a:xfrm>
            <a:custGeom>
              <a:avLst/>
              <a:gdLst/>
              <a:ahLst/>
              <a:cxnLst>
                <a:cxn ang="0">
                  <a:pos x="wd2" y="hd2"/>
                </a:cxn>
                <a:cxn ang="5400000">
                  <a:pos x="wd2" y="hd2"/>
                </a:cxn>
                <a:cxn ang="10800000">
                  <a:pos x="wd2" y="hd2"/>
                </a:cxn>
                <a:cxn ang="16200000">
                  <a:pos x="wd2" y="hd2"/>
                </a:cxn>
              </a:cxnLst>
              <a:rect l="0" t="0" r="r" b="b"/>
              <a:pathLst>
                <a:path w="21600" h="21600" extrusionOk="0">
                  <a:moveTo>
                    <a:pt x="13214" y="0"/>
                  </a:moveTo>
                  <a:lnTo>
                    <a:pt x="0" y="6137"/>
                  </a:lnTo>
                  <a:lnTo>
                    <a:pt x="4727" y="21600"/>
                  </a:lnTo>
                  <a:lnTo>
                    <a:pt x="21600" y="12940"/>
                  </a:lnTo>
                  <a:lnTo>
                    <a:pt x="13214" y="0"/>
                  </a:lnTo>
                  <a:close/>
                </a:path>
              </a:pathLst>
            </a:custGeom>
            <a:grpFill/>
            <a:ln w="25400" cap="flat">
              <a:noFill/>
              <a:prstDash val="solid"/>
              <a:miter lim="400000"/>
            </a:ln>
            <a:effectLst/>
          </p:spPr>
          <p:txBody>
            <a:bodyPr anchor="ctr"/>
            <a:lstStyle/>
            <a:p>
              <a:pPr algn="ctr"/>
              <a:endParaRPr/>
            </a:p>
          </p:txBody>
        </p:sp>
        <p:sp>
          <p:nvSpPr>
            <p:cNvPr id="128" name="isḷîḑê">
              <a:extLst>
                <a:ext uri="{FF2B5EF4-FFF2-40B4-BE49-F238E27FC236}">
                  <a16:creationId xmlns:a16="http://schemas.microsoft.com/office/drawing/2014/main" id="{EEB2ED1A-30E9-48D7-9B48-6BC9F04F26DF}"/>
                </a:ext>
              </a:extLst>
            </p:cNvPr>
            <p:cNvSpPr/>
            <p:nvPr/>
          </p:nvSpPr>
          <p:spPr>
            <a:xfrm>
              <a:off x="5486629" y="2286760"/>
              <a:ext cx="16360" cy="16360"/>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4630" y="1789"/>
                  </a:lnTo>
                  <a:lnTo>
                    <a:pt x="0" y="17575"/>
                  </a:lnTo>
                  <a:lnTo>
                    <a:pt x="16425" y="21600"/>
                  </a:lnTo>
                  <a:lnTo>
                    <a:pt x="21600" y="0"/>
                  </a:lnTo>
                  <a:close/>
                </a:path>
              </a:pathLst>
            </a:custGeom>
            <a:grpFill/>
            <a:ln w="25400" cap="flat">
              <a:noFill/>
              <a:prstDash val="solid"/>
              <a:miter lim="400000"/>
            </a:ln>
            <a:effectLst/>
          </p:spPr>
          <p:txBody>
            <a:bodyPr anchor="ctr"/>
            <a:lstStyle/>
            <a:p>
              <a:pPr algn="ctr"/>
              <a:endParaRPr/>
            </a:p>
          </p:txBody>
        </p:sp>
        <p:sp>
          <p:nvSpPr>
            <p:cNvPr id="129" name="îšlíḍê">
              <a:extLst>
                <a:ext uri="{FF2B5EF4-FFF2-40B4-BE49-F238E27FC236}">
                  <a16:creationId xmlns:a16="http://schemas.microsoft.com/office/drawing/2014/main" id="{62057FEF-65BE-4F0F-9208-4EDD8A183099}"/>
                </a:ext>
              </a:extLst>
            </p:cNvPr>
            <p:cNvSpPr/>
            <p:nvPr/>
          </p:nvSpPr>
          <p:spPr>
            <a:xfrm>
              <a:off x="5605003" y="2617425"/>
              <a:ext cx="39478" cy="45925"/>
            </a:xfrm>
            <a:custGeom>
              <a:avLst/>
              <a:gdLst/>
              <a:ahLst/>
              <a:cxnLst>
                <a:cxn ang="0">
                  <a:pos x="wd2" y="hd2"/>
                </a:cxn>
                <a:cxn ang="5400000">
                  <a:pos x="wd2" y="hd2"/>
                </a:cxn>
                <a:cxn ang="10800000">
                  <a:pos x="wd2" y="hd2"/>
                </a:cxn>
                <a:cxn ang="16200000">
                  <a:pos x="wd2" y="hd2"/>
                </a:cxn>
              </a:cxnLst>
              <a:rect l="0" t="0" r="r" b="b"/>
              <a:pathLst>
                <a:path w="20245" h="21188" extrusionOk="0">
                  <a:moveTo>
                    <a:pt x="11664" y="4816"/>
                  </a:moveTo>
                  <a:lnTo>
                    <a:pt x="9025" y="9331"/>
                  </a:lnTo>
                  <a:lnTo>
                    <a:pt x="6223" y="14637"/>
                  </a:lnTo>
                  <a:lnTo>
                    <a:pt x="0" y="13938"/>
                  </a:lnTo>
                  <a:lnTo>
                    <a:pt x="635" y="18481"/>
                  </a:lnTo>
                  <a:lnTo>
                    <a:pt x="7824" y="19865"/>
                  </a:lnTo>
                  <a:cubicBezTo>
                    <a:pt x="10049" y="21332"/>
                    <a:pt x="12992" y="21600"/>
                    <a:pt x="15502" y="20564"/>
                  </a:cubicBezTo>
                  <a:cubicBezTo>
                    <a:pt x="19950" y="18729"/>
                    <a:pt x="21600" y="13831"/>
                    <a:pt x="19023" y="10107"/>
                  </a:cubicBezTo>
                  <a:lnTo>
                    <a:pt x="19415" y="0"/>
                  </a:lnTo>
                  <a:lnTo>
                    <a:pt x="11664" y="4816"/>
                  </a:lnTo>
                  <a:close/>
                </a:path>
              </a:pathLst>
            </a:custGeom>
            <a:grpFill/>
            <a:ln w="25400" cap="flat">
              <a:noFill/>
              <a:prstDash val="solid"/>
              <a:miter lim="400000"/>
            </a:ln>
            <a:effectLst/>
          </p:spPr>
          <p:txBody>
            <a:bodyPr anchor="ctr"/>
            <a:lstStyle/>
            <a:p>
              <a:pPr algn="ctr"/>
              <a:endParaRPr/>
            </a:p>
          </p:txBody>
        </p:sp>
        <p:sp>
          <p:nvSpPr>
            <p:cNvPr id="130" name="išlíḋé">
              <a:extLst>
                <a:ext uri="{FF2B5EF4-FFF2-40B4-BE49-F238E27FC236}">
                  <a16:creationId xmlns:a16="http://schemas.microsoft.com/office/drawing/2014/main" id="{56686EC9-86FF-430C-A52E-0804B1DDB75D}"/>
                </a:ext>
              </a:extLst>
            </p:cNvPr>
            <p:cNvSpPr/>
            <p:nvPr/>
          </p:nvSpPr>
          <p:spPr>
            <a:xfrm>
              <a:off x="5813157" y="2519155"/>
              <a:ext cx="32675" cy="52401"/>
            </a:xfrm>
            <a:custGeom>
              <a:avLst/>
              <a:gdLst/>
              <a:ahLst/>
              <a:cxnLst>
                <a:cxn ang="0">
                  <a:pos x="wd2" y="hd2"/>
                </a:cxn>
                <a:cxn ang="5400000">
                  <a:pos x="wd2" y="hd2"/>
                </a:cxn>
                <a:cxn ang="10800000">
                  <a:pos x="wd2" y="hd2"/>
                </a:cxn>
                <a:cxn ang="16200000">
                  <a:pos x="wd2" y="hd2"/>
                </a:cxn>
              </a:cxnLst>
              <a:rect l="0" t="0" r="r" b="b"/>
              <a:pathLst>
                <a:path w="21600" h="21600" extrusionOk="0">
                  <a:moveTo>
                    <a:pt x="13661" y="1731"/>
                  </a:moveTo>
                  <a:lnTo>
                    <a:pt x="11853" y="5894"/>
                  </a:lnTo>
                  <a:lnTo>
                    <a:pt x="4206" y="5101"/>
                  </a:lnTo>
                  <a:lnTo>
                    <a:pt x="0" y="9460"/>
                  </a:lnTo>
                  <a:lnTo>
                    <a:pt x="168" y="14442"/>
                  </a:lnTo>
                  <a:cubicBezTo>
                    <a:pt x="2798" y="15061"/>
                    <a:pt x="5194" y="16010"/>
                    <a:pt x="7206" y="17228"/>
                  </a:cubicBezTo>
                  <a:cubicBezTo>
                    <a:pt x="9251" y="18466"/>
                    <a:pt x="10854" y="19955"/>
                    <a:pt x="11913" y="21600"/>
                  </a:cubicBezTo>
                  <a:lnTo>
                    <a:pt x="21600" y="20338"/>
                  </a:lnTo>
                  <a:lnTo>
                    <a:pt x="21600" y="12245"/>
                  </a:lnTo>
                  <a:lnTo>
                    <a:pt x="20591" y="5088"/>
                  </a:lnTo>
                  <a:lnTo>
                    <a:pt x="18069" y="0"/>
                  </a:lnTo>
                  <a:lnTo>
                    <a:pt x="13661" y="1731"/>
                  </a:lnTo>
                  <a:close/>
                </a:path>
              </a:pathLst>
            </a:custGeom>
            <a:grpFill/>
            <a:ln w="25400" cap="flat">
              <a:noFill/>
              <a:prstDash val="solid"/>
              <a:miter lim="400000"/>
            </a:ln>
            <a:effectLst/>
          </p:spPr>
          <p:txBody>
            <a:bodyPr anchor="ctr"/>
            <a:lstStyle/>
            <a:p>
              <a:pPr algn="ctr"/>
              <a:endParaRPr/>
            </a:p>
          </p:txBody>
        </p:sp>
        <p:sp>
          <p:nvSpPr>
            <p:cNvPr id="131" name="íSḻîďê">
              <a:extLst>
                <a:ext uri="{FF2B5EF4-FFF2-40B4-BE49-F238E27FC236}">
                  <a16:creationId xmlns:a16="http://schemas.microsoft.com/office/drawing/2014/main" id="{3A5F879C-E5C2-4583-B4C2-A47C153C9FD0}"/>
                </a:ext>
              </a:extLst>
            </p:cNvPr>
            <p:cNvSpPr/>
            <p:nvPr/>
          </p:nvSpPr>
          <p:spPr>
            <a:xfrm>
              <a:off x="5800394" y="2590774"/>
              <a:ext cx="44328" cy="77472"/>
            </a:xfrm>
            <a:custGeom>
              <a:avLst/>
              <a:gdLst/>
              <a:ahLst/>
              <a:cxnLst>
                <a:cxn ang="0">
                  <a:pos x="wd2" y="hd2"/>
                </a:cxn>
                <a:cxn ang="5400000">
                  <a:pos x="wd2" y="hd2"/>
                </a:cxn>
                <a:cxn ang="10800000">
                  <a:pos x="wd2" y="hd2"/>
                </a:cxn>
                <a:cxn ang="16200000">
                  <a:pos x="wd2" y="hd2"/>
                </a:cxn>
              </a:cxnLst>
              <a:rect l="0" t="0" r="r" b="b"/>
              <a:pathLst>
                <a:path w="21055" h="21324" extrusionOk="0">
                  <a:moveTo>
                    <a:pt x="8993" y="0"/>
                  </a:moveTo>
                  <a:lnTo>
                    <a:pt x="4720" y="2328"/>
                  </a:lnTo>
                  <a:lnTo>
                    <a:pt x="264" y="4061"/>
                  </a:lnTo>
                  <a:lnTo>
                    <a:pt x="0" y="7596"/>
                  </a:lnTo>
                  <a:lnTo>
                    <a:pt x="4908" y="9951"/>
                  </a:lnTo>
                  <a:lnTo>
                    <a:pt x="4908" y="14304"/>
                  </a:lnTo>
                  <a:lnTo>
                    <a:pt x="7308" y="16172"/>
                  </a:lnTo>
                  <a:lnTo>
                    <a:pt x="8380" y="19699"/>
                  </a:lnTo>
                  <a:cubicBezTo>
                    <a:pt x="8501" y="20496"/>
                    <a:pt x="9534" y="21148"/>
                    <a:pt x="10902" y="21289"/>
                  </a:cubicBezTo>
                  <a:cubicBezTo>
                    <a:pt x="13902" y="21600"/>
                    <a:pt x="16165" y="19752"/>
                    <a:pt x="14647" y="18231"/>
                  </a:cubicBezTo>
                  <a:lnTo>
                    <a:pt x="18270" y="17605"/>
                  </a:lnTo>
                  <a:cubicBezTo>
                    <a:pt x="19422" y="16417"/>
                    <a:pt x="20233" y="15129"/>
                    <a:pt x="20671" y="13792"/>
                  </a:cubicBezTo>
                  <a:cubicBezTo>
                    <a:pt x="21600" y="10953"/>
                    <a:pt x="20834" y="8017"/>
                    <a:pt x="18496" y="5460"/>
                  </a:cubicBezTo>
                  <a:lnTo>
                    <a:pt x="18149" y="907"/>
                  </a:lnTo>
                  <a:lnTo>
                    <a:pt x="8993" y="0"/>
                  </a:lnTo>
                  <a:close/>
                </a:path>
              </a:pathLst>
            </a:custGeom>
            <a:grpFill/>
            <a:ln w="25400" cap="flat">
              <a:noFill/>
              <a:prstDash val="solid"/>
              <a:miter lim="400000"/>
            </a:ln>
            <a:effectLst/>
          </p:spPr>
          <p:txBody>
            <a:bodyPr anchor="ctr"/>
            <a:lstStyle/>
            <a:p>
              <a:pPr algn="ctr"/>
              <a:endParaRPr/>
            </a:p>
          </p:txBody>
        </p:sp>
        <p:sp>
          <p:nvSpPr>
            <p:cNvPr id="132" name="îṡḻiďè">
              <a:extLst>
                <a:ext uri="{FF2B5EF4-FFF2-40B4-BE49-F238E27FC236}">
                  <a16:creationId xmlns:a16="http://schemas.microsoft.com/office/drawing/2014/main" id="{9C00E52A-9029-4715-A112-8025AEF11F30}"/>
                </a:ext>
              </a:extLst>
            </p:cNvPr>
            <p:cNvSpPr/>
            <p:nvPr/>
          </p:nvSpPr>
          <p:spPr>
            <a:xfrm>
              <a:off x="5935621" y="2695122"/>
              <a:ext cx="87464" cy="46959"/>
            </a:xfrm>
            <a:custGeom>
              <a:avLst/>
              <a:gdLst/>
              <a:ahLst/>
              <a:cxnLst>
                <a:cxn ang="0">
                  <a:pos x="wd2" y="hd2"/>
                </a:cxn>
                <a:cxn ang="5400000">
                  <a:pos x="wd2" y="hd2"/>
                </a:cxn>
                <a:cxn ang="10800000">
                  <a:pos x="wd2" y="hd2"/>
                </a:cxn>
                <a:cxn ang="16200000">
                  <a:pos x="wd2" y="hd2"/>
                </a:cxn>
              </a:cxnLst>
              <a:rect l="0" t="0" r="r" b="b"/>
              <a:pathLst>
                <a:path w="21600" h="21334" extrusionOk="0">
                  <a:moveTo>
                    <a:pt x="7882" y="0"/>
                  </a:moveTo>
                  <a:lnTo>
                    <a:pt x="5685" y="3441"/>
                  </a:lnTo>
                  <a:lnTo>
                    <a:pt x="1488" y="2877"/>
                  </a:lnTo>
                  <a:lnTo>
                    <a:pt x="0" y="5287"/>
                  </a:lnTo>
                  <a:lnTo>
                    <a:pt x="2117" y="8371"/>
                  </a:lnTo>
                  <a:lnTo>
                    <a:pt x="8892" y="11123"/>
                  </a:lnTo>
                  <a:lnTo>
                    <a:pt x="13224" y="15942"/>
                  </a:lnTo>
                  <a:lnTo>
                    <a:pt x="17549" y="21334"/>
                  </a:lnTo>
                  <a:lnTo>
                    <a:pt x="19418" y="15125"/>
                  </a:lnTo>
                  <a:lnTo>
                    <a:pt x="19418" y="11123"/>
                  </a:lnTo>
                  <a:lnTo>
                    <a:pt x="21600" y="5502"/>
                  </a:lnTo>
                  <a:cubicBezTo>
                    <a:pt x="21188" y="3626"/>
                    <a:pt x="20374" y="2139"/>
                    <a:pt x="19348" y="1386"/>
                  </a:cubicBezTo>
                  <a:cubicBezTo>
                    <a:pt x="17095" y="-266"/>
                    <a:pt x="14537" y="1740"/>
                    <a:pt x="13641" y="5861"/>
                  </a:cubicBezTo>
                  <a:lnTo>
                    <a:pt x="11263" y="1414"/>
                  </a:lnTo>
                  <a:lnTo>
                    <a:pt x="7882" y="0"/>
                  </a:lnTo>
                  <a:close/>
                </a:path>
              </a:pathLst>
            </a:custGeom>
            <a:grpFill/>
            <a:ln w="25400" cap="flat">
              <a:noFill/>
              <a:prstDash val="solid"/>
              <a:miter lim="400000"/>
            </a:ln>
            <a:effectLst/>
          </p:spPr>
          <p:txBody>
            <a:bodyPr anchor="ctr"/>
            <a:lstStyle/>
            <a:p>
              <a:pPr algn="ctr"/>
              <a:endParaRPr/>
            </a:p>
          </p:txBody>
        </p:sp>
        <p:sp>
          <p:nvSpPr>
            <p:cNvPr id="133" name="ïSļídê">
              <a:extLst>
                <a:ext uri="{FF2B5EF4-FFF2-40B4-BE49-F238E27FC236}">
                  <a16:creationId xmlns:a16="http://schemas.microsoft.com/office/drawing/2014/main" id="{89B34769-F6CB-4465-9C83-3AD93BDBD1E1}"/>
                </a:ext>
              </a:extLst>
            </p:cNvPr>
            <p:cNvSpPr/>
            <p:nvPr/>
          </p:nvSpPr>
          <p:spPr>
            <a:xfrm>
              <a:off x="5977156" y="2768475"/>
              <a:ext cx="19383" cy="16966"/>
            </a:xfrm>
            <a:custGeom>
              <a:avLst/>
              <a:gdLst/>
              <a:ahLst/>
              <a:cxnLst>
                <a:cxn ang="0">
                  <a:pos x="wd2" y="hd2"/>
                </a:cxn>
                <a:cxn ang="5400000">
                  <a:pos x="wd2" y="hd2"/>
                </a:cxn>
                <a:cxn ang="10800000">
                  <a:pos x="wd2" y="hd2"/>
                </a:cxn>
                <a:cxn ang="16200000">
                  <a:pos x="wd2" y="hd2"/>
                </a:cxn>
              </a:cxnLst>
              <a:rect l="0" t="0" r="r" b="b"/>
              <a:pathLst>
                <a:path w="21600" h="21600" extrusionOk="0">
                  <a:moveTo>
                    <a:pt x="15774" y="1048"/>
                  </a:moveTo>
                  <a:lnTo>
                    <a:pt x="1426" y="0"/>
                  </a:lnTo>
                  <a:lnTo>
                    <a:pt x="0" y="17702"/>
                  </a:lnTo>
                  <a:lnTo>
                    <a:pt x="21600" y="21600"/>
                  </a:lnTo>
                  <a:lnTo>
                    <a:pt x="15774" y="1048"/>
                  </a:lnTo>
                  <a:close/>
                </a:path>
              </a:pathLst>
            </a:custGeom>
            <a:grpFill/>
            <a:ln w="25400" cap="flat">
              <a:noFill/>
              <a:prstDash val="solid"/>
              <a:miter lim="400000"/>
            </a:ln>
            <a:effectLst/>
          </p:spPr>
          <p:txBody>
            <a:bodyPr anchor="ctr"/>
            <a:lstStyle/>
            <a:p>
              <a:pPr algn="ctr"/>
              <a:endParaRPr/>
            </a:p>
          </p:txBody>
        </p:sp>
        <p:sp>
          <p:nvSpPr>
            <p:cNvPr id="134" name="işḷïdê">
              <a:extLst>
                <a:ext uri="{FF2B5EF4-FFF2-40B4-BE49-F238E27FC236}">
                  <a16:creationId xmlns:a16="http://schemas.microsoft.com/office/drawing/2014/main" id="{ACE87F57-457C-472E-8B4C-B636AE46786F}"/>
                </a:ext>
              </a:extLst>
            </p:cNvPr>
            <p:cNvSpPr/>
            <p:nvPr/>
          </p:nvSpPr>
          <p:spPr>
            <a:xfrm>
              <a:off x="6277853" y="2784962"/>
              <a:ext cx="97332" cy="33679"/>
            </a:xfrm>
            <a:custGeom>
              <a:avLst/>
              <a:gdLst/>
              <a:ahLst/>
              <a:cxnLst>
                <a:cxn ang="0">
                  <a:pos x="wd2" y="hd2"/>
                </a:cxn>
                <a:cxn ang="5400000">
                  <a:pos x="wd2" y="hd2"/>
                </a:cxn>
                <a:cxn ang="10800000">
                  <a:pos x="wd2" y="hd2"/>
                </a:cxn>
                <a:cxn ang="16200000">
                  <a:pos x="wd2" y="hd2"/>
                </a:cxn>
              </a:cxnLst>
              <a:rect l="0" t="0" r="r" b="b"/>
              <a:pathLst>
                <a:path w="21565" h="19779" extrusionOk="0">
                  <a:moveTo>
                    <a:pt x="12434" y="4397"/>
                  </a:moveTo>
                  <a:lnTo>
                    <a:pt x="7006" y="2044"/>
                  </a:lnTo>
                  <a:lnTo>
                    <a:pt x="3364" y="1828"/>
                  </a:lnTo>
                  <a:cubicBezTo>
                    <a:pt x="2241" y="-1757"/>
                    <a:pt x="29" y="279"/>
                    <a:pt x="0" y="4926"/>
                  </a:cubicBezTo>
                  <a:cubicBezTo>
                    <a:pt x="-35" y="10379"/>
                    <a:pt x="2718" y="12346"/>
                    <a:pt x="3736" y="7595"/>
                  </a:cubicBezTo>
                  <a:lnTo>
                    <a:pt x="6269" y="12491"/>
                  </a:lnTo>
                  <a:lnTo>
                    <a:pt x="8797" y="17829"/>
                  </a:lnTo>
                  <a:cubicBezTo>
                    <a:pt x="10237" y="18722"/>
                    <a:pt x="11702" y="19311"/>
                    <a:pt x="13178" y="19590"/>
                  </a:cubicBezTo>
                  <a:cubicBezTo>
                    <a:pt x="14509" y="19843"/>
                    <a:pt x="15846" y="19843"/>
                    <a:pt x="17178" y="19590"/>
                  </a:cubicBezTo>
                  <a:lnTo>
                    <a:pt x="21565" y="16031"/>
                  </a:lnTo>
                  <a:lnTo>
                    <a:pt x="21234" y="9358"/>
                  </a:lnTo>
                  <a:cubicBezTo>
                    <a:pt x="20150" y="10055"/>
                    <a:pt x="19031" y="10305"/>
                    <a:pt x="17917" y="10099"/>
                  </a:cubicBezTo>
                  <a:cubicBezTo>
                    <a:pt x="16919" y="9915"/>
                    <a:pt x="15935" y="9366"/>
                    <a:pt x="14995" y="8468"/>
                  </a:cubicBezTo>
                  <a:lnTo>
                    <a:pt x="12434" y="4397"/>
                  </a:lnTo>
                  <a:close/>
                </a:path>
              </a:pathLst>
            </a:custGeom>
            <a:grpFill/>
            <a:ln w="25400" cap="flat">
              <a:noFill/>
              <a:prstDash val="solid"/>
              <a:miter lim="400000"/>
            </a:ln>
            <a:effectLst/>
          </p:spPr>
          <p:txBody>
            <a:bodyPr anchor="ctr"/>
            <a:lstStyle/>
            <a:p>
              <a:pPr algn="ctr"/>
              <a:endParaRPr/>
            </a:p>
          </p:txBody>
        </p:sp>
        <p:sp>
          <p:nvSpPr>
            <p:cNvPr id="135" name="ï$ľiḋê">
              <a:extLst>
                <a:ext uri="{FF2B5EF4-FFF2-40B4-BE49-F238E27FC236}">
                  <a16:creationId xmlns:a16="http://schemas.microsoft.com/office/drawing/2014/main" id="{530F839E-6420-4392-8D6F-8B4CF356AD78}"/>
                </a:ext>
              </a:extLst>
            </p:cNvPr>
            <p:cNvSpPr/>
            <p:nvPr/>
          </p:nvSpPr>
          <p:spPr>
            <a:xfrm>
              <a:off x="6105633" y="1911267"/>
              <a:ext cx="32397" cy="27552"/>
            </a:xfrm>
            <a:custGeom>
              <a:avLst/>
              <a:gdLst/>
              <a:ahLst/>
              <a:cxnLst>
                <a:cxn ang="0">
                  <a:pos x="wd2" y="hd2"/>
                </a:cxn>
                <a:cxn ang="5400000">
                  <a:pos x="wd2" y="hd2"/>
                </a:cxn>
                <a:cxn ang="10800000">
                  <a:pos x="wd2" y="hd2"/>
                </a:cxn>
                <a:cxn ang="16200000">
                  <a:pos x="wd2" y="hd2"/>
                </a:cxn>
              </a:cxnLst>
              <a:rect l="0" t="0" r="r" b="b"/>
              <a:pathLst>
                <a:path w="20495" h="21600" extrusionOk="0">
                  <a:moveTo>
                    <a:pt x="13981" y="0"/>
                  </a:moveTo>
                  <a:lnTo>
                    <a:pt x="5719" y="857"/>
                  </a:lnTo>
                  <a:lnTo>
                    <a:pt x="0" y="11369"/>
                  </a:lnTo>
                  <a:lnTo>
                    <a:pt x="5962" y="17640"/>
                  </a:lnTo>
                  <a:lnTo>
                    <a:pt x="14301" y="21600"/>
                  </a:lnTo>
                  <a:cubicBezTo>
                    <a:pt x="17054" y="20527"/>
                    <a:pt x="19207" y="17865"/>
                    <a:pt x="20066" y="14472"/>
                  </a:cubicBezTo>
                  <a:cubicBezTo>
                    <a:pt x="21600" y="8411"/>
                    <a:pt x="18887" y="1959"/>
                    <a:pt x="13981" y="0"/>
                  </a:cubicBezTo>
                  <a:close/>
                </a:path>
              </a:pathLst>
            </a:custGeom>
            <a:grpFill/>
            <a:ln w="25400" cap="flat">
              <a:noFill/>
              <a:prstDash val="solid"/>
              <a:miter lim="400000"/>
            </a:ln>
            <a:effectLst/>
          </p:spPr>
          <p:txBody>
            <a:bodyPr anchor="ctr"/>
            <a:lstStyle/>
            <a:p>
              <a:pPr algn="ctr"/>
              <a:endParaRPr/>
            </a:p>
          </p:txBody>
        </p:sp>
        <p:sp>
          <p:nvSpPr>
            <p:cNvPr id="136" name="iṩļíḑe">
              <a:extLst>
                <a:ext uri="{FF2B5EF4-FFF2-40B4-BE49-F238E27FC236}">
                  <a16:creationId xmlns:a16="http://schemas.microsoft.com/office/drawing/2014/main" id="{7AA489A3-EFEB-4079-AE71-45AC7C575BF8}"/>
                </a:ext>
              </a:extLst>
            </p:cNvPr>
            <p:cNvSpPr/>
            <p:nvPr/>
          </p:nvSpPr>
          <p:spPr>
            <a:xfrm>
              <a:off x="9216497" y="4500642"/>
              <a:ext cx="1322325" cy="1010305"/>
            </a:xfrm>
            <a:custGeom>
              <a:avLst/>
              <a:gdLst/>
              <a:ahLst/>
              <a:cxnLst>
                <a:cxn ang="0">
                  <a:pos x="wd2" y="hd2"/>
                </a:cxn>
                <a:cxn ang="5400000">
                  <a:pos x="wd2" y="hd2"/>
                </a:cxn>
                <a:cxn ang="10800000">
                  <a:pos x="wd2" y="hd2"/>
                </a:cxn>
                <a:cxn ang="16200000">
                  <a:pos x="wd2" y="hd2"/>
                </a:cxn>
              </a:cxnLst>
              <a:rect l="0" t="0" r="r" b="b"/>
              <a:pathLst>
                <a:path w="21600" h="21587" extrusionOk="0">
                  <a:moveTo>
                    <a:pt x="5954" y="5356"/>
                  </a:moveTo>
                  <a:lnTo>
                    <a:pt x="5796" y="5869"/>
                  </a:lnTo>
                  <a:lnTo>
                    <a:pt x="5503" y="6311"/>
                  </a:lnTo>
                  <a:lnTo>
                    <a:pt x="5365" y="6483"/>
                  </a:lnTo>
                  <a:lnTo>
                    <a:pt x="5082" y="6656"/>
                  </a:lnTo>
                  <a:lnTo>
                    <a:pt x="4719" y="6834"/>
                  </a:lnTo>
                  <a:lnTo>
                    <a:pt x="4278" y="6893"/>
                  </a:lnTo>
                  <a:lnTo>
                    <a:pt x="3867" y="6963"/>
                  </a:lnTo>
                  <a:lnTo>
                    <a:pt x="3605" y="7152"/>
                  </a:lnTo>
                  <a:lnTo>
                    <a:pt x="3201" y="7421"/>
                  </a:lnTo>
                  <a:lnTo>
                    <a:pt x="2840" y="7616"/>
                  </a:lnTo>
                  <a:lnTo>
                    <a:pt x="2159" y="7891"/>
                  </a:lnTo>
                  <a:lnTo>
                    <a:pt x="1627" y="8085"/>
                  </a:lnTo>
                  <a:lnTo>
                    <a:pt x="1116" y="8295"/>
                  </a:lnTo>
                  <a:lnTo>
                    <a:pt x="1025" y="8677"/>
                  </a:lnTo>
                  <a:lnTo>
                    <a:pt x="980" y="8983"/>
                  </a:lnTo>
                  <a:lnTo>
                    <a:pt x="880" y="9313"/>
                  </a:lnTo>
                  <a:lnTo>
                    <a:pt x="718" y="9572"/>
                  </a:lnTo>
                  <a:lnTo>
                    <a:pt x="742" y="9911"/>
                  </a:lnTo>
                  <a:lnTo>
                    <a:pt x="766" y="10200"/>
                  </a:lnTo>
                  <a:lnTo>
                    <a:pt x="887" y="10459"/>
                  </a:lnTo>
                  <a:lnTo>
                    <a:pt x="982" y="10658"/>
                  </a:lnTo>
                  <a:lnTo>
                    <a:pt x="945" y="10981"/>
                  </a:lnTo>
                  <a:lnTo>
                    <a:pt x="804" y="11271"/>
                  </a:lnTo>
                  <a:lnTo>
                    <a:pt x="643" y="11837"/>
                  </a:lnTo>
                  <a:lnTo>
                    <a:pt x="607" y="12409"/>
                  </a:lnTo>
                  <a:lnTo>
                    <a:pt x="619" y="12825"/>
                  </a:lnTo>
                  <a:lnTo>
                    <a:pt x="619" y="14159"/>
                  </a:lnTo>
                  <a:lnTo>
                    <a:pt x="657" y="14449"/>
                  </a:lnTo>
                  <a:lnTo>
                    <a:pt x="756" y="14821"/>
                  </a:lnTo>
                  <a:lnTo>
                    <a:pt x="756" y="15123"/>
                  </a:lnTo>
                  <a:lnTo>
                    <a:pt x="806" y="15510"/>
                  </a:lnTo>
                  <a:lnTo>
                    <a:pt x="856" y="15799"/>
                  </a:lnTo>
                  <a:lnTo>
                    <a:pt x="756" y="16171"/>
                  </a:lnTo>
                  <a:lnTo>
                    <a:pt x="620" y="16478"/>
                  </a:lnTo>
                  <a:lnTo>
                    <a:pt x="546" y="16734"/>
                  </a:lnTo>
                  <a:lnTo>
                    <a:pt x="484" y="17052"/>
                  </a:lnTo>
                  <a:lnTo>
                    <a:pt x="393" y="17251"/>
                  </a:lnTo>
                  <a:lnTo>
                    <a:pt x="218" y="17348"/>
                  </a:lnTo>
                  <a:lnTo>
                    <a:pt x="0" y="17440"/>
                  </a:lnTo>
                  <a:lnTo>
                    <a:pt x="75" y="17639"/>
                  </a:lnTo>
                  <a:lnTo>
                    <a:pt x="148" y="17822"/>
                  </a:lnTo>
                  <a:lnTo>
                    <a:pt x="409" y="18166"/>
                  </a:lnTo>
                  <a:lnTo>
                    <a:pt x="717" y="18165"/>
                  </a:lnTo>
                  <a:lnTo>
                    <a:pt x="954" y="18364"/>
                  </a:lnTo>
                  <a:lnTo>
                    <a:pt x="1202" y="18316"/>
                  </a:lnTo>
                  <a:lnTo>
                    <a:pt x="1439" y="18047"/>
                  </a:lnTo>
                  <a:lnTo>
                    <a:pt x="1767" y="17901"/>
                  </a:lnTo>
                  <a:lnTo>
                    <a:pt x="2169" y="17804"/>
                  </a:lnTo>
                  <a:lnTo>
                    <a:pt x="2597" y="17535"/>
                  </a:lnTo>
                  <a:lnTo>
                    <a:pt x="2792" y="17454"/>
                  </a:lnTo>
                  <a:lnTo>
                    <a:pt x="3078" y="17389"/>
                  </a:lnTo>
                  <a:lnTo>
                    <a:pt x="3572" y="17373"/>
                  </a:lnTo>
                  <a:lnTo>
                    <a:pt x="3783" y="17308"/>
                  </a:lnTo>
                  <a:lnTo>
                    <a:pt x="4016" y="17260"/>
                  </a:lnTo>
                  <a:lnTo>
                    <a:pt x="4277" y="17211"/>
                  </a:lnTo>
                  <a:cubicBezTo>
                    <a:pt x="4368" y="17227"/>
                    <a:pt x="4461" y="17227"/>
                    <a:pt x="4552" y="17211"/>
                  </a:cubicBezTo>
                  <a:cubicBezTo>
                    <a:pt x="4646" y="17194"/>
                    <a:pt x="4738" y="17159"/>
                    <a:pt x="4825" y="17108"/>
                  </a:cubicBezTo>
                  <a:lnTo>
                    <a:pt x="5149" y="16802"/>
                  </a:lnTo>
                  <a:lnTo>
                    <a:pt x="5410" y="16608"/>
                  </a:lnTo>
                  <a:lnTo>
                    <a:pt x="5793" y="16451"/>
                  </a:lnTo>
                  <a:lnTo>
                    <a:pt x="6066" y="16339"/>
                  </a:lnTo>
                  <a:lnTo>
                    <a:pt x="6419" y="16236"/>
                  </a:lnTo>
                  <a:lnTo>
                    <a:pt x="7073" y="16033"/>
                  </a:lnTo>
                  <a:lnTo>
                    <a:pt x="7555" y="15812"/>
                  </a:lnTo>
                  <a:lnTo>
                    <a:pt x="7812" y="15893"/>
                  </a:lnTo>
                  <a:lnTo>
                    <a:pt x="8156" y="15925"/>
                  </a:lnTo>
                  <a:lnTo>
                    <a:pt x="8413" y="15764"/>
                  </a:lnTo>
                  <a:cubicBezTo>
                    <a:pt x="8514" y="15721"/>
                    <a:pt x="8618" y="15693"/>
                    <a:pt x="8724" y="15683"/>
                  </a:cubicBezTo>
                  <a:cubicBezTo>
                    <a:pt x="8850" y="15670"/>
                    <a:pt x="8977" y="15680"/>
                    <a:pt x="9101" y="15714"/>
                  </a:cubicBezTo>
                  <a:lnTo>
                    <a:pt x="9309" y="15811"/>
                  </a:lnTo>
                  <a:lnTo>
                    <a:pt x="9665" y="16129"/>
                  </a:lnTo>
                  <a:lnTo>
                    <a:pt x="9802" y="16323"/>
                  </a:lnTo>
                  <a:lnTo>
                    <a:pt x="10014" y="16431"/>
                  </a:lnTo>
                  <a:cubicBezTo>
                    <a:pt x="10054" y="16535"/>
                    <a:pt x="10087" y="16643"/>
                    <a:pt x="10112" y="16754"/>
                  </a:cubicBezTo>
                  <a:cubicBezTo>
                    <a:pt x="10146" y="16901"/>
                    <a:pt x="10167" y="17052"/>
                    <a:pt x="10174" y="17205"/>
                  </a:cubicBezTo>
                  <a:lnTo>
                    <a:pt x="10302" y="17344"/>
                  </a:lnTo>
                  <a:lnTo>
                    <a:pt x="10401" y="17554"/>
                  </a:lnTo>
                  <a:lnTo>
                    <a:pt x="10451" y="17811"/>
                  </a:lnTo>
                  <a:lnTo>
                    <a:pt x="10476" y="18064"/>
                  </a:lnTo>
                  <a:lnTo>
                    <a:pt x="10688" y="18145"/>
                  </a:lnTo>
                  <a:lnTo>
                    <a:pt x="10787" y="17837"/>
                  </a:lnTo>
                  <a:lnTo>
                    <a:pt x="10899" y="17643"/>
                  </a:lnTo>
                  <a:lnTo>
                    <a:pt x="11281" y="17568"/>
                  </a:lnTo>
                  <a:lnTo>
                    <a:pt x="11514" y="17330"/>
                  </a:lnTo>
                  <a:lnTo>
                    <a:pt x="11659" y="16996"/>
                  </a:lnTo>
                  <a:lnTo>
                    <a:pt x="11759" y="16727"/>
                  </a:lnTo>
                  <a:lnTo>
                    <a:pt x="11983" y="16727"/>
                  </a:lnTo>
                  <a:lnTo>
                    <a:pt x="12102" y="16986"/>
                  </a:lnTo>
                  <a:lnTo>
                    <a:pt x="12069" y="17282"/>
                  </a:lnTo>
                  <a:lnTo>
                    <a:pt x="11874" y="17524"/>
                  </a:lnTo>
                  <a:lnTo>
                    <a:pt x="11654" y="17767"/>
                  </a:lnTo>
                  <a:lnTo>
                    <a:pt x="11510" y="17972"/>
                  </a:lnTo>
                  <a:lnTo>
                    <a:pt x="11473" y="18225"/>
                  </a:lnTo>
                  <a:lnTo>
                    <a:pt x="11274" y="18418"/>
                  </a:lnTo>
                  <a:lnTo>
                    <a:pt x="11125" y="18467"/>
                  </a:lnTo>
                  <a:lnTo>
                    <a:pt x="11188" y="18634"/>
                  </a:lnTo>
                  <a:lnTo>
                    <a:pt x="11336" y="18634"/>
                  </a:lnTo>
                  <a:lnTo>
                    <a:pt x="11507" y="18537"/>
                  </a:lnTo>
                  <a:lnTo>
                    <a:pt x="11648" y="18208"/>
                  </a:lnTo>
                  <a:lnTo>
                    <a:pt x="11859" y="17966"/>
                  </a:lnTo>
                  <a:lnTo>
                    <a:pt x="11982" y="17997"/>
                  </a:lnTo>
                  <a:lnTo>
                    <a:pt x="12028" y="18234"/>
                  </a:lnTo>
                  <a:lnTo>
                    <a:pt x="12003" y="18557"/>
                  </a:lnTo>
                  <a:lnTo>
                    <a:pt x="11990" y="18719"/>
                  </a:lnTo>
                  <a:lnTo>
                    <a:pt x="12143" y="18913"/>
                  </a:lnTo>
                  <a:lnTo>
                    <a:pt x="12243" y="19251"/>
                  </a:lnTo>
                  <a:lnTo>
                    <a:pt x="12130" y="19639"/>
                  </a:lnTo>
                  <a:lnTo>
                    <a:pt x="12031" y="19855"/>
                  </a:lnTo>
                  <a:lnTo>
                    <a:pt x="11944" y="20096"/>
                  </a:lnTo>
                  <a:lnTo>
                    <a:pt x="12193" y="20469"/>
                  </a:lnTo>
                  <a:lnTo>
                    <a:pt x="12600" y="20760"/>
                  </a:lnTo>
                  <a:lnTo>
                    <a:pt x="12912" y="21094"/>
                  </a:lnTo>
                  <a:lnTo>
                    <a:pt x="13119" y="21142"/>
                  </a:lnTo>
                  <a:lnTo>
                    <a:pt x="13372" y="21202"/>
                  </a:lnTo>
                  <a:cubicBezTo>
                    <a:pt x="13427" y="21195"/>
                    <a:pt x="13481" y="21173"/>
                    <a:pt x="13529" y="21138"/>
                  </a:cubicBezTo>
                  <a:cubicBezTo>
                    <a:pt x="13608" y="21080"/>
                    <a:pt x="13669" y="20988"/>
                    <a:pt x="13703" y="20879"/>
                  </a:cubicBezTo>
                  <a:lnTo>
                    <a:pt x="13911" y="20820"/>
                  </a:lnTo>
                  <a:lnTo>
                    <a:pt x="14131" y="20831"/>
                  </a:lnTo>
                  <a:lnTo>
                    <a:pt x="14366" y="21000"/>
                  </a:lnTo>
                  <a:lnTo>
                    <a:pt x="14503" y="21323"/>
                  </a:lnTo>
                  <a:cubicBezTo>
                    <a:pt x="14516" y="21451"/>
                    <a:pt x="14589" y="21554"/>
                    <a:pt x="14686" y="21581"/>
                  </a:cubicBezTo>
                  <a:cubicBezTo>
                    <a:pt x="14755" y="21600"/>
                    <a:pt x="14827" y="21576"/>
                    <a:pt x="14881" y="21516"/>
                  </a:cubicBezTo>
                  <a:lnTo>
                    <a:pt x="15117" y="21042"/>
                  </a:lnTo>
                  <a:cubicBezTo>
                    <a:pt x="15153" y="20962"/>
                    <a:pt x="15199" y="20891"/>
                    <a:pt x="15254" y="20832"/>
                  </a:cubicBezTo>
                  <a:cubicBezTo>
                    <a:pt x="15361" y="20715"/>
                    <a:pt x="15495" y="20649"/>
                    <a:pt x="15635" y="20643"/>
                  </a:cubicBezTo>
                  <a:lnTo>
                    <a:pt x="15896" y="20578"/>
                  </a:lnTo>
                  <a:lnTo>
                    <a:pt x="16108" y="20578"/>
                  </a:lnTo>
                  <a:lnTo>
                    <a:pt x="16320" y="20708"/>
                  </a:lnTo>
                  <a:cubicBezTo>
                    <a:pt x="16368" y="20765"/>
                    <a:pt x="16429" y="20799"/>
                    <a:pt x="16494" y="20805"/>
                  </a:cubicBezTo>
                  <a:cubicBezTo>
                    <a:pt x="16587" y="20814"/>
                    <a:pt x="16677" y="20766"/>
                    <a:pt x="16739" y="20676"/>
                  </a:cubicBezTo>
                  <a:lnTo>
                    <a:pt x="16988" y="20110"/>
                  </a:lnTo>
                  <a:lnTo>
                    <a:pt x="17250" y="19592"/>
                  </a:lnTo>
                  <a:cubicBezTo>
                    <a:pt x="17331" y="19471"/>
                    <a:pt x="17410" y="19347"/>
                    <a:pt x="17487" y="19220"/>
                  </a:cubicBezTo>
                  <a:cubicBezTo>
                    <a:pt x="17562" y="19095"/>
                    <a:pt x="17636" y="18967"/>
                    <a:pt x="17707" y="18837"/>
                  </a:cubicBezTo>
                  <a:lnTo>
                    <a:pt x="18063" y="18805"/>
                  </a:lnTo>
                  <a:lnTo>
                    <a:pt x="18151" y="18627"/>
                  </a:lnTo>
                  <a:lnTo>
                    <a:pt x="18358" y="18341"/>
                  </a:lnTo>
                  <a:lnTo>
                    <a:pt x="18454" y="18136"/>
                  </a:lnTo>
                  <a:lnTo>
                    <a:pt x="18691" y="17893"/>
                  </a:lnTo>
                  <a:cubicBezTo>
                    <a:pt x="18717" y="17817"/>
                    <a:pt x="18736" y="17738"/>
                    <a:pt x="18748" y="17656"/>
                  </a:cubicBezTo>
                  <a:cubicBezTo>
                    <a:pt x="18765" y="17543"/>
                    <a:pt x="18767" y="17423"/>
                    <a:pt x="18810" y="17321"/>
                  </a:cubicBezTo>
                  <a:cubicBezTo>
                    <a:pt x="18860" y="17203"/>
                    <a:pt x="18955" y="17129"/>
                    <a:pt x="19059" y="17127"/>
                  </a:cubicBezTo>
                  <a:lnTo>
                    <a:pt x="19413" y="16924"/>
                  </a:lnTo>
                  <a:lnTo>
                    <a:pt x="19787" y="16655"/>
                  </a:lnTo>
                  <a:lnTo>
                    <a:pt x="19874" y="16445"/>
                  </a:lnTo>
                  <a:lnTo>
                    <a:pt x="20023" y="16251"/>
                  </a:lnTo>
                  <a:lnTo>
                    <a:pt x="20285" y="15880"/>
                  </a:lnTo>
                  <a:lnTo>
                    <a:pt x="20451" y="15642"/>
                  </a:lnTo>
                  <a:lnTo>
                    <a:pt x="20476" y="15370"/>
                  </a:lnTo>
                  <a:cubicBezTo>
                    <a:pt x="20512" y="15250"/>
                    <a:pt x="20553" y="15133"/>
                    <a:pt x="20601" y="15020"/>
                  </a:cubicBezTo>
                  <a:cubicBezTo>
                    <a:pt x="20671" y="14852"/>
                    <a:pt x="20753" y="14693"/>
                    <a:pt x="20846" y="14545"/>
                  </a:cubicBezTo>
                  <a:cubicBezTo>
                    <a:pt x="20913" y="14433"/>
                    <a:pt x="20979" y="14320"/>
                    <a:pt x="21045" y="14206"/>
                  </a:cubicBezTo>
                  <a:cubicBezTo>
                    <a:pt x="21111" y="14091"/>
                    <a:pt x="21176" y="13976"/>
                    <a:pt x="21240" y="13860"/>
                  </a:cubicBezTo>
                  <a:cubicBezTo>
                    <a:pt x="21281" y="13719"/>
                    <a:pt x="21310" y="13572"/>
                    <a:pt x="21327" y="13423"/>
                  </a:cubicBezTo>
                  <a:cubicBezTo>
                    <a:pt x="21345" y="13266"/>
                    <a:pt x="21349" y="13107"/>
                    <a:pt x="21340" y="12948"/>
                  </a:cubicBezTo>
                  <a:lnTo>
                    <a:pt x="21550" y="12563"/>
                  </a:lnTo>
                  <a:cubicBezTo>
                    <a:pt x="21536" y="12461"/>
                    <a:pt x="21532" y="12358"/>
                    <a:pt x="21538" y="12255"/>
                  </a:cubicBezTo>
                  <a:cubicBezTo>
                    <a:pt x="21545" y="12135"/>
                    <a:pt x="21566" y="12016"/>
                    <a:pt x="21600" y="11904"/>
                  </a:cubicBezTo>
                  <a:lnTo>
                    <a:pt x="21600" y="11340"/>
                  </a:lnTo>
                  <a:lnTo>
                    <a:pt x="21538" y="11038"/>
                  </a:lnTo>
                  <a:lnTo>
                    <a:pt x="21389" y="10617"/>
                  </a:lnTo>
                  <a:lnTo>
                    <a:pt x="21281" y="10240"/>
                  </a:lnTo>
                  <a:lnTo>
                    <a:pt x="21028" y="9986"/>
                  </a:lnTo>
                  <a:lnTo>
                    <a:pt x="20791" y="9581"/>
                  </a:lnTo>
                  <a:lnTo>
                    <a:pt x="20733" y="9333"/>
                  </a:lnTo>
                  <a:lnTo>
                    <a:pt x="20397" y="8721"/>
                  </a:lnTo>
                  <a:lnTo>
                    <a:pt x="20297" y="8091"/>
                  </a:lnTo>
                  <a:lnTo>
                    <a:pt x="20106" y="7525"/>
                  </a:lnTo>
                  <a:lnTo>
                    <a:pt x="19820" y="6996"/>
                  </a:lnTo>
                  <a:lnTo>
                    <a:pt x="19620" y="6527"/>
                  </a:lnTo>
                  <a:lnTo>
                    <a:pt x="19210" y="6155"/>
                  </a:lnTo>
                  <a:lnTo>
                    <a:pt x="18886" y="5767"/>
                  </a:lnTo>
                  <a:cubicBezTo>
                    <a:pt x="18800" y="5685"/>
                    <a:pt x="18761" y="5544"/>
                    <a:pt x="18786" y="5410"/>
                  </a:cubicBezTo>
                  <a:cubicBezTo>
                    <a:pt x="18811" y="5280"/>
                    <a:pt x="18892" y="5181"/>
                    <a:pt x="18994" y="5157"/>
                  </a:cubicBezTo>
                  <a:lnTo>
                    <a:pt x="19055" y="4833"/>
                  </a:lnTo>
                  <a:lnTo>
                    <a:pt x="19055" y="4472"/>
                  </a:lnTo>
                  <a:lnTo>
                    <a:pt x="19217" y="4028"/>
                  </a:lnTo>
                  <a:lnTo>
                    <a:pt x="19027" y="3743"/>
                  </a:lnTo>
                  <a:lnTo>
                    <a:pt x="18969" y="3459"/>
                  </a:lnTo>
                  <a:lnTo>
                    <a:pt x="18936" y="3040"/>
                  </a:lnTo>
                  <a:lnTo>
                    <a:pt x="18737" y="2634"/>
                  </a:lnTo>
                  <a:lnTo>
                    <a:pt x="18500" y="2250"/>
                  </a:lnTo>
                  <a:lnTo>
                    <a:pt x="18264" y="1878"/>
                  </a:lnTo>
                  <a:cubicBezTo>
                    <a:pt x="18190" y="1776"/>
                    <a:pt x="18127" y="1662"/>
                    <a:pt x="18077" y="1539"/>
                  </a:cubicBezTo>
                  <a:cubicBezTo>
                    <a:pt x="17997" y="1344"/>
                    <a:pt x="17951" y="1129"/>
                    <a:pt x="17940" y="908"/>
                  </a:cubicBezTo>
                  <a:lnTo>
                    <a:pt x="17870" y="312"/>
                  </a:lnTo>
                  <a:lnTo>
                    <a:pt x="17679" y="0"/>
                  </a:lnTo>
                  <a:lnTo>
                    <a:pt x="17497" y="117"/>
                  </a:lnTo>
                  <a:lnTo>
                    <a:pt x="17298" y="441"/>
                  </a:lnTo>
                  <a:lnTo>
                    <a:pt x="17198" y="989"/>
                  </a:lnTo>
                  <a:lnTo>
                    <a:pt x="17173" y="1475"/>
                  </a:lnTo>
                  <a:lnTo>
                    <a:pt x="17090" y="1927"/>
                  </a:lnTo>
                  <a:lnTo>
                    <a:pt x="17016" y="2271"/>
                  </a:lnTo>
                  <a:lnTo>
                    <a:pt x="17003" y="2864"/>
                  </a:lnTo>
                  <a:lnTo>
                    <a:pt x="17016" y="3290"/>
                  </a:lnTo>
                  <a:cubicBezTo>
                    <a:pt x="16998" y="3361"/>
                    <a:pt x="16974" y="3430"/>
                    <a:pt x="16945" y="3495"/>
                  </a:cubicBezTo>
                  <a:cubicBezTo>
                    <a:pt x="16886" y="3627"/>
                    <a:pt x="16805" y="3742"/>
                    <a:pt x="16709" y="3829"/>
                  </a:cubicBezTo>
                  <a:lnTo>
                    <a:pt x="16476" y="4223"/>
                  </a:lnTo>
                  <a:lnTo>
                    <a:pt x="16090" y="4596"/>
                  </a:lnTo>
                  <a:lnTo>
                    <a:pt x="16028" y="4804"/>
                  </a:lnTo>
                  <a:lnTo>
                    <a:pt x="15868" y="4980"/>
                  </a:lnTo>
                  <a:lnTo>
                    <a:pt x="15471" y="4872"/>
                  </a:lnTo>
                  <a:lnTo>
                    <a:pt x="15263" y="4420"/>
                  </a:lnTo>
                  <a:lnTo>
                    <a:pt x="14941" y="4258"/>
                  </a:lnTo>
                  <a:lnTo>
                    <a:pt x="14663" y="4053"/>
                  </a:lnTo>
                  <a:lnTo>
                    <a:pt x="14476" y="3794"/>
                  </a:lnTo>
                  <a:lnTo>
                    <a:pt x="14089" y="3470"/>
                  </a:lnTo>
                  <a:lnTo>
                    <a:pt x="13749" y="3330"/>
                  </a:lnTo>
                  <a:lnTo>
                    <a:pt x="13637" y="2925"/>
                  </a:lnTo>
                  <a:lnTo>
                    <a:pt x="13637" y="2180"/>
                  </a:lnTo>
                  <a:lnTo>
                    <a:pt x="13757" y="1862"/>
                  </a:lnTo>
                  <a:lnTo>
                    <a:pt x="13894" y="1668"/>
                  </a:lnTo>
                  <a:lnTo>
                    <a:pt x="14093" y="1328"/>
                  </a:lnTo>
                  <a:lnTo>
                    <a:pt x="14301" y="1036"/>
                  </a:lnTo>
                  <a:lnTo>
                    <a:pt x="14077" y="799"/>
                  </a:lnTo>
                  <a:lnTo>
                    <a:pt x="13671" y="626"/>
                  </a:lnTo>
                  <a:lnTo>
                    <a:pt x="13551" y="529"/>
                  </a:lnTo>
                  <a:lnTo>
                    <a:pt x="12919" y="457"/>
                  </a:lnTo>
                  <a:lnTo>
                    <a:pt x="12492" y="155"/>
                  </a:lnTo>
                  <a:lnTo>
                    <a:pt x="12131" y="495"/>
                  </a:lnTo>
                  <a:lnTo>
                    <a:pt x="11861" y="716"/>
                  </a:lnTo>
                  <a:lnTo>
                    <a:pt x="11605" y="888"/>
                  </a:lnTo>
                  <a:lnTo>
                    <a:pt x="11058" y="1017"/>
                  </a:lnTo>
                  <a:lnTo>
                    <a:pt x="10851" y="1226"/>
                  </a:lnTo>
                  <a:lnTo>
                    <a:pt x="10702" y="1608"/>
                  </a:lnTo>
                  <a:lnTo>
                    <a:pt x="10603" y="1737"/>
                  </a:lnTo>
                  <a:lnTo>
                    <a:pt x="10416" y="1964"/>
                  </a:lnTo>
                  <a:lnTo>
                    <a:pt x="10428" y="2286"/>
                  </a:lnTo>
                  <a:lnTo>
                    <a:pt x="10594" y="2561"/>
                  </a:lnTo>
                  <a:lnTo>
                    <a:pt x="10478" y="2739"/>
                  </a:lnTo>
                  <a:lnTo>
                    <a:pt x="10159" y="3090"/>
                  </a:lnTo>
                  <a:cubicBezTo>
                    <a:pt x="10067" y="3086"/>
                    <a:pt x="9978" y="3052"/>
                    <a:pt x="9899" y="2993"/>
                  </a:cubicBezTo>
                  <a:cubicBezTo>
                    <a:pt x="9767" y="2894"/>
                    <a:pt x="9671" y="2731"/>
                    <a:pt x="9633" y="2540"/>
                  </a:cubicBezTo>
                  <a:lnTo>
                    <a:pt x="9197" y="2329"/>
                  </a:lnTo>
                  <a:cubicBezTo>
                    <a:pt x="9181" y="2199"/>
                    <a:pt x="9118" y="2087"/>
                    <a:pt x="9027" y="2027"/>
                  </a:cubicBezTo>
                  <a:cubicBezTo>
                    <a:pt x="8838" y="1903"/>
                    <a:pt x="8608" y="2025"/>
                    <a:pt x="8541" y="2286"/>
                  </a:cubicBezTo>
                  <a:lnTo>
                    <a:pt x="8250" y="2599"/>
                  </a:lnTo>
                  <a:cubicBezTo>
                    <a:pt x="8194" y="2686"/>
                    <a:pt x="8137" y="2772"/>
                    <a:pt x="8080" y="2857"/>
                  </a:cubicBezTo>
                  <a:cubicBezTo>
                    <a:pt x="7985" y="2999"/>
                    <a:pt x="7888" y="3139"/>
                    <a:pt x="7790" y="3277"/>
                  </a:cubicBezTo>
                  <a:lnTo>
                    <a:pt x="7467" y="3599"/>
                  </a:lnTo>
                  <a:lnTo>
                    <a:pt x="7293" y="3739"/>
                  </a:lnTo>
                  <a:lnTo>
                    <a:pt x="6986" y="3783"/>
                  </a:lnTo>
                  <a:lnTo>
                    <a:pt x="6987" y="4025"/>
                  </a:lnTo>
                  <a:lnTo>
                    <a:pt x="7057" y="4165"/>
                  </a:lnTo>
                  <a:lnTo>
                    <a:pt x="7119" y="4374"/>
                  </a:lnTo>
                  <a:lnTo>
                    <a:pt x="7007" y="4628"/>
                  </a:lnTo>
                  <a:cubicBezTo>
                    <a:pt x="7006" y="4750"/>
                    <a:pt x="6931" y="4851"/>
                    <a:pt x="6836" y="4854"/>
                  </a:cubicBezTo>
                  <a:cubicBezTo>
                    <a:pt x="6738" y="4858"/>
                    <a:pt x="6655" y="4756"/>
                    <a:pt x="6654" y="4628"/>
                  </a:cubicBezTo>
                  <a:lnTo>
                    <a:pt x="6421" y="4466"/>
                  </a:lnTo>
                  <a:lnTo>
                    <a:pt x="6280" y="4719"/>
                  </a:lnTo>
                  <a:lnTo>
                    <a:pt x="6160" y="4924"/>
                  </a:lnTo>
                  <a:lnTo>
                    <a:pt x="5954" y="5356"/>
                  </a:lnTo>
                  <a:close/>
                </a:path>
              </a:pathLst>
            </a:custGeom>
            <a:grpFill/>
            <a:ln w="25400" cap="flat">
              <a:noFill/>
              <a:prstDash val="solid"/>
              <a:miter lim="400000"/>
            </a:ln>
            <a:effectLst/>
          </p:spPr>
          <p:txBody>
            <a:bodyPr anchor="ctr"/>
            <a:lstStyle/>
            <a:p>
              <a:pPr algn="ctr"/>
              <a:endParaRPr/>
            </a:p>
          </p:txBody>
        </p:sp>
        <p:sp>
          <p:nvSpPr>
            <p:cNvPr id="137" name="ïṥliďe">
              <a:extLst>
                <a:ext uri="{FF2B5EF4-FFF2-40B4-BE49-F238E27FC236}">
                  <a16:creationId xmlns:a16="http://schemas.microsoft.com/office/drawing/2014/main" id="{54033BFF-3B20-421F-8776-EA2AC75E7E8A}"/>
                </a:ext>
              </a:extLst>
            </p:cNvPr>
            <p:cNvSpPr/>
            <p:nvPr/>
          </p:nvSpPr>
          <p:spPr>
            <a:xfrm>
              <a:off x="10006023" y="5571304"/>
              <a:ext cx="123850" cy="102464"/>
            </a:xfrm>
            <a:custGeom>
              <a:avLst/>
              <a:gdLst/>
              <a:ahLst/>
              <a:cxnLst>
                <a:cxn ang="0">
                  <a:pos x="wd2" y="hd2"/>
                </a:cxn>
                <a:cxn ang="5400000">
                  <a:pos x="wd2" y="hd2"/>
                </a:cxn>
                <a:cxn ang="10800000">
                  <a:pos x="wd2" y="hd2"/>
                </a:cxn>
                <a:cxn ang="16200000">
                  <a:pos x="wd2" y="hd2"/>
                </a:cxn>
              </a:cxnLst>
              <a:rect l="0" t="0" r="r" b="b"/>
              <a:pathLst>
                <a:path w="21600" h="21600" extrusionOk="0">
                  <a:moveTo>
                    <a:pt x="2734" y="1038"/>
                  </a:moveTo>
                  <a:lnTo>
                    <a:pt x="5578" y="0"/>
                  </a:lnTo>
                  <a:lnTo>
                    <a:pt x="6344" y="2077"/>
                  </a:lnTo>
                  <a:lnTo>
                    <a:pt x="8057" y="3507"/>
                  </a:lnTo>
                  <a:lnTo>
                    <a:pt x="11245" y="5736"/>
                  </a:lnTo>
                  <a:lnTo>
                    <a:pt x="13944" y="4944"/>
                  </a:lnTo>
                  <a:lnTo>
                    <a:pt x="15669" y="2555"/>
                  </a:lnTo>
                  <a:lnTo>
                    <a:pt x="17659" y="2290"/>
                  </a:lnTo>
                  <a:lnTo>
                    <a:pt x="20048" y="2290"/>
                  </a:lnTo>
                  <a:lnTo>
                    <a:pt x="21600" y="3886"/>
                  </a:lnTo>
                  <a:lnTo>
                    <a:pt x="21073" y="6102"/>
                  </a:lnTo>
                  <a:lnTo>
                    <a:pt x="19449" y="6901"/>
                  </a:lnTo>
                  <a:lnTo>
                    <a:pt x="18263" y="8165"/>
                  </a:lnTo>
                  <a:lnTo>
                    <a:pt x="18130" y="10554"/>
                  </a:lnTo>
                  <a:lnTo>
                    <a:pt x="16494" y="13003"/>
                  </a:lnTo>
                  <a:lnTo>
                    <a:pt x="14149" y="14540"/>
                  </a:lnTo>
                  <a:lnTo>
                    <a:pt x="10318" y="16118"/>
                  </a:lnTo>
                  <a:lnTo>
                    <a:pt x="8234" y="17714"/>
                  </a:lnTo>
                  <a:lnTo>
                    <a:pt x="6954" y="19365"/>
                  </a:lnTo>
                  <a:lnTo>
                    <a:pt x="6111" y="21121"/>
                  </a:lnTo>
                  <a:lnTo>
                    <a:pt x="4171" y="21600"/>
                  </a:lnTo>
                  <a:lnTo>
                    <a:pt x="3062" y="19311"/>
                  </a:lnTo>
                  <a:lnTo>
                    <a:pt x="1521" y="19311"/>
                  </a:lnTo>
                  <a:lnTo>
                    <a:pt x="0" y="19258"/>
                  </a:lnTo>
                  <a:lnTo>
                    <a:pt x="667" y="16130"/>
                  </a:lnTo>
                  <a:lnTo>
                    <a:pt x="2456" y="13422"/>
                  </a:lnTo>
                  <a:lnTo>
                    <a:pt x="2806" y="11838"/>
                  </a:lnTo>
                  <a:lnTo>
                    <a:pt x="2673" y="8557"/>
                  </a:lnTo>
                  <a:lnTo>
                    <a:pt x="2673" y="6056"/>
                  </a:lnTo>
                  <a:lnTo>
                    <a:pt x="2190" y="4678"/>
                  </a:lnTo>
                  <a:lnTo>
                    <a:pt x="2734" y="1038"/>
                  </a:lnTo>
                  <a:close/>
                </a:path>
              </a:pathLst>
            </a:custGeom>
            <a:grpFill/>
            <a:ln w="25400" cap="flat">
              <a:noFill/>
              <a:prstDash val="solid"/>
              <a:miter lim="400000"/>
            </a:ln>
            <a:effectLst/>
          </p:spPr>
          <p:txBody>
            <a:bodyPr anchor="ctr"/>
            <a:lstStyle/>
            <a:p>
              <a:pPr algn="ctr"/>
              <a:endParaRPr/>
            </a:p>
          </p:txBody>
        </p:sp>
        <p:sp>
          <p:nvSpPr>
            <p:cNvPr id="138" name="ïśḻïḑè">
              <a:extLst>
                <a:ext uri="{FF2B5EF4-FFF2-40B4-BE49-F238E27FC236}">
                  <a16:creationId xmlns:a16="http://schemas.microsoft.com/office/drawing/2014/main" id="{6CEE2015-1CC7-48E3-ACD4-B20E80419601}"/>
                </a:ext>
              </a:extLst>
            </p:cNvPr>
            <p:cNvSpPr/>
            <p:nvPr/>
          </p:nvSpPr>
          <p:spPr>
            <a:xfrm>
              <a:off x="10572355" y="5565246"/>
              <a:ext cx="336841" cy="210563"/>
            </a:xfrm>
            <a:custGeom>
              <a:avLst/>
              <a:gdLst/>
              <a:ahLst/>
              <a:cxnLst>
                <a:cxn ang="0">
                  <a:pos x="wd2" y="hd2"/>
                </a:cxn>
                <a:cxn ang="5400000">
                  <a:pos x="wd2" y="hd2"/>
                </a:cxn>
                <a:cxn ang="10800000">
                  <a:pos x="wd2" y="hd2"/>
                </a:cxn>
                <a:cxn ang="16200000">
                  <a:pos x="wd2" y="hd2"/>
                </a:cxn>
              </a:cxnLst>
              <a:rect l="0" t="0" r="r" b="b"/>
              <a:pathLst>
                <a:path w="21600" h="21544" extrusionOk="0">
                  <a:moveTo>
                    <a:pt x="2147" y="16913"/>
                  </a:moveTo>
                  <a:lnTo>
                    <a:pt x="1380" y="17278"/>
                  </a:lnTo>
                  <a:lnTo>
                    <a:pt x="508" y="19015"/>
                  </a:lnTo>
                  <a:lnTo>
                    <a:pt x="0" y="20356"/>
                  </a:lnTo>
                  <a:lnTo>
                    <a:pt x="1241" y="21466"/>
                  </a:lnTo>
                  <a:lnTo>
                    <a:pt x="2749" y="21544"/>
                  </a:lnTo>
                  <a:lnTo>
                    <a:pt x="5044" y="21466"/>
                  </a:lnTo>
                  <a:lnTo>
                    <a:pt x="6332" y="20691"/>
                  </a:lnTo>
                  <a:lnTo>
                    <a:pt x="8044" y="18990"/>
                  </a:lnTo>
                  <a:lnTo>
                    <a:pt x="9316" y="17905"/>
                  </a:lnTo>
                  <a:lnTo>
                    <a:pt x="10246" y="16587"/>
                  </a:lnTo>
                  <a:lnTo>
                    <a:pt x="11501" y="14151"/>
                  </a:lnTo>
                  <a:cubicBezTo>
                    <a:pt x="11635" y="13828"/>
                    <a:pt x="11800" y="13540"/>
                    <a:pt x="11990" y="13298"/>
                  </a:cubicBezTo>
                  <a:cubicBezTo>
                    <a:pt x="12464" y="12694"/>
                    <a:pt x="13064" y="12399"/>
                    <a:pt x="13670" y="12472"/>
                  </a:cubicBezTo>
                  <a:lnTo>
                    <a:pt x="14548" y="12562"/>
                  </a:lnTo>
                  <a:lnTo>
                    <a:pt x="15233" y="12097"/>
                  </a:lnTo>
                  <a:lnTo>
                    <a:pt x="15961" y="11558"/>
                  </a:lnTo>
                  <a:lnTo>
                    <a:pt x="16010" y="10246"/>
                  </a:lnTo>
                  <a:lnTo>
                    <a:pt x="17004" y="9130"/>
                  </a:lnTo>
                  <a:lnTo>
                    <a:pt x="18541" y="7346"/>
                  </a:lnTo>
                  <a:lnTo>
                    <a:pt x="20577" y="6490"/>
                  </a:lnTo>
                  <a:lnTo>
                    <a:pt x="21600" y="5415"/>
                  </a:lnTo>
                  <a:lnTo>
                    <a:pt x="21600" y="4405"/>
                  </a:lnTo>
                  <a:lnTo>
                    <a:pt x="21306" y="2773"/>
                  </a:lnTo>
                  <a:lnTo>
                    <a:pt x="20866" y="1007"/>
                  </a:lnTo>
                  <a:cubicBezTo>
                    <a:pt x="20843" y="468"/>
                    <a:pt x="20572" y="40"/>
                    <a:pt x="20232" y="3"/>
                  </a:cubicBezTo>
                  <a:cubicBezTo>
                    <a:pt x="19700" y="-56"/>
                    <a:pt x="19304" y="769"/>
                    <a:pt x="19482" y="1565"/>
                  </a:cubicBezTo>
                  <a:lnTo>
                    <a:pt x="18669" y="2426"/>
                  </a:lnTo>
                  <a:lnTo>
                    <a:pt x="17564" y="3640"/>
                  </a:lnTo>
                  <a:lnTo>
                    <a:pt x="17108" y="4363"/>
                  </a:lnTo>
                  <a:cubicBezTo>
                    <a:pt x="16812" y="4575"/>
                    <a:pt x="16538" y="4853"/>
                    <a:pt x="16293" y="5190"/>
                  </a:cubicBezTo>
                  <a:cubicBezTo>
                    <a:pt x="15810" y="5854"/>
                    <a:pt x="15457" y="6721"/>
                    <a:pt x="14988" y="7408"/>
                  </a:cubicBezTo>
                  <a:cubicBezTo>
                    <a:pt x="14591" y="7991"/>
                    <a:pt x="14119" y="8431"/>
                    <a:pt x="13604" y="8700"/>
                  </a:cubicBezTo>
                  <a:lnTo>
                    <a:pt x="11698" y="9704"/>
                  </a:lnTo>
                  <a:lnTo>
                    <a:pt x="9302" y="11254"/>
                  </a:lnTo>
                  <a:cubicBezTo>
                    <a:pt x="8906" y="11491"/>
                    <a:pt x="8515" y="11748"/>
                    <a:pt x="8130" y="12026"/>
                  </a:cubicBezTo>
                  <a:cubicBezTo>
                    <a:pt x="7579" y="12424"/>
                    <a:pt x="7040" y="12864"/>
                    <a:pt x="6515" y="13344"/>
                  </a:cubicBezTo>
                  <a:cubicBezTo>
                    <a:pt x="6085" y="13632"/>
                    <a:pt x="5652" y="13908"/>
                    <a:pt x="5215" y="14170"/>
                  </a:cubicBezTo>
                  <a:cubicBezTo>
                    <a:pt x="4730" y="14462"/>
                    <a:pt x="4240" y="14738"/>
                    <a:pt x="3748" y="14997"/>
                  </a:cubicBezTo>
                  <a:lnTo>
                    <a:pt x="2147" y="16913"/>
                  </a:lnTo>
                  <a:close/>
                </a:path>
              </a:pathLst>
            </a:custGeom>
            <a:grpFill/>
            <a:ln w="25400" cap="flat">
              <a:noFill/>
              <a:prstDash val="solid"/>
              <a:miter lim="400000"/>
            </a:ln>
            <a:effectLst/>
          </p:spPr>
          <p:txBody>
            <a:bodyPr anchor="ctr"/>
            <a:lstStyle/>
            <a:p>
              <a:pPr algn="ctr"/>
              <a:endParaRPr/>
            </a:p>
          </p:txBody>
        </p:sp>
        <p:sp>
          <p:nvSpPr>
            <p:cNvPr id="139" name="íšḷiḋè">
              <a:extLst>
                <a:ext uri="{FF2B5EF4-FFF2-40B4-BE49-F238E27FC236}">
                  <a16:creationId xmlns:a16="http://schemas.microsoft.com/office/drawing/2014/main" id="{B5157375-5A3A-44A6-98A6-4FC39C2F8207}"/>
                </a:ext>
              </a:extLst>
            </p:cNvPr>
            <p:cNvSpPr/>
            <p:nvPr/>
          </p:nvSpPr>
          <p:spPr>
            <a:xfrm>
              <a:off x="10955509" y="5355572"/>
              <a:ext cx="164775" cy="251094"/>
            </a:xfrm>
            <a:custGeom>
              <a:avLst/>
              <a:gdLst/>
              <a:ahLst/>
              <a:cxnLst>
                <a:cxn ang="0">
                  <a:pos x="wd2" y="hd2"/>
                </a:cxn>
                <a:cxn ang="5400000">
                  <a:pos x="wd2" y="hd2"/>
                </a:cxn>
                <a:cxn ang="10800000">
                  <a:pos x="wd2" y="hd2"/>
                </a:cxn>
                <a:cxn ang="16200000">
                  <a:pos x="wd2" y="hd2"/>
                </a:cxn>
              </a:cxnLst>
              <a:rect l="0" t="0" r="r" b="b"/>
              <a:pathLst>
                <a:path w="21600" h="21600" extrusionOk="0">
                  <a:moveTo>
                    <a:pt x="13019" y="321"/>
                  </a:moveTo>
                  <a:lnTo>
                    <a:pt x="11636" y="0"/>
                  </a:lnTo>
                  <a:lnTo>
                    <a:pt x="11352" y="2568"/>
                  </a:lnTo>
                  <a:lnTo>
                    <a:pt x="11383" y="3806"/>
                  </a:lnTo>
                  <a:lnTo>
                    <a:pt x="12079" y="5151"/>
                  </a:lnTo>
                  <a:lnTo>
                    <a:pt x="12375" y="6967"/>
                  </a:lnTo>
                  <a:cubicBezTo>
                    <a:pt x="12672" y="7601"/>
                    <a:pt x="12637" y="8281"/>
                    <a:pt x="12275" y="8900"/>
                  </a:cubicBezTo>
                  <a:cubicBezTo>
                    <a:pt x="12047" y="9291"/>
                    <a:pt x="11695" y="9645"/>
                    <a:pt x="11242" y="9941"/>
                  </a:cubicBezTo>
                  <a:lnTo>
                    <a:pt x="10432" y="11157"/>
                  </a:lnTo>
                  <a:lnTo>
                    <a:pt x="7384" y="11982"/>
                  </a:lnTo>
                  <a:lnTo>
                    <a:pt x="4025" y="12743"/>
                  </a:lnTo>
                  <a:lnTo>
                    <a:pt x="2560" y="14347"/>
                  </a:lnTo>
                  <a:lnTo>
                    <a:pt x="2552" y="16107"/>
                  </a:lnTo>
                  <a:lnTo>
                    <a:pt x="3355" y="17541"/>
                  </a:lnTo>
                  <a:lnTo>
                    <a:pt x="1955" y="19191"/>
                  </a:lnTo>
                  <a:lnTo>
                    <a:pt x="116" y="19974"/>
                  </a:lnTo>
                  <a:lnTo>
                    <a:pt x="0" y="20821"/>
                  </a:lnTo>
                  <a:lnTo>
                    <a:pt x="1421" y="21600"/>
                  </a:lnTo>
                  <a:lnTo>
                    <a:pt x="3317" y="20948"/>
                  </a:lnTo>
                  <a:lnTo>
                    <a:pt x="5646" y="19126"/>
                  </a:lnTo>
                  <a:cubicBezTo>
                    <a:pt x="6124" y="18808"/>
                    <a:pt x="6661" y="18530"/>
                    <a:pt x="7246" y="18301"/>
                  </a:cubicBezTo>
                  <a:cubicBezTo>
                    <a:pt x="7999" y="18006"/>
                    <a:pt x="8821" y="17793"/>
                    <a:pt x="9679" y="17671"/>
                  </a:cubicBezTo>
                  <a:cubicBezTo>
                    <a:pt x="10238" y="17511"/>
                    <a:pt x="10792" y="17345"/>
                    <a:pt x="11342" y="17174"/>
                  </a:cubicBezTo>
                  <a:cubicBezTo>
                    <a:pt x="12241" y="16894"/>
                    <a:pt x="13139" y="16593"/>
                    <a:pt x="13842" y="16131"/>
                  </a:cubicBezTo>
                  <a:cubicBezTo>
                    <a:pt x="14311" y="15823"/>
                    <a:pt x="14674" y="15454"/>
                    <a:pt x="14908" y="15048"/>
                  </a:cubicBezTo>
                  <a:cubicBezTo>
                    <a:pt x="15071" y="14768"/>
                    <a:pt x="15345" y="14521"/>
                    <a:pt x="15704" y="14334"/>
                  </a:cubicBezTo>
                  <a:cubicBezTo>
                    <a:pt x="16529" y="13904"/>
                    <a:pt x="17653" y="13847"/>
                    <a:pt x="18567" y="13508"/>
                  </a:cubicBezTo>
                  <a:cubicBezTo>
                    <a:pt x="19153" y="13291"/>
                    <a:pt x="19628" y="12966"/>
                    <a:pt x="19933" y="12574"/>
                  </a:cubicBezTo>
                  <a:lnTo>
                    <a:pt x="21100" y="11358"/>
                  </a:lnTo>
                  <a:lnTo>
                    <a:pt x="21600" y="10578"/>
                  </a:lnTo>
                  <a:lnTo>
                    <a:pt x="19804" y="10386"/>
                  </a:lnTo>
                  <a:lnTo>
                    <a:pt x="18624" y="10060"/>
                  </a:lnTo>
                  <a:lnTo>
                    <a:pt x="17125" y="9017"/>
                  </a:lnTo>
                  <a:lnTo>
                    <a:pt x="14529" y="7584"/>
                  </a:lnTo>
                  <a:cubicBezTo>
                    <a:pt x="14314" y="7294"/>
                    <a:pt x="14124" y="6997"/>
                    <a:pt x="13962" y="6693"/>
                  </a:cubicBezTo>
                  <a:cubicBezTo>
                    <a:pt x="13643" y="6095"/>
                    <a:pt x="13431" y="5476"/>
                    <a:pt x="13329" y="4847"/>
                  </a:cubicBezTo>
                  <a:lnTo>
                    <a:pt x="14325" y="3524"/>
                  </a:lnTo>
                  <a:lnTo>
                    <a:pt x="14325" y="1808"/>
                  </a:lnTo>
                  <a:lnTo>
                    <a:pt x="13019" y="321"/>
                  </a:lnTo>
                  <a:close/>
                </a:path>
              </a:pathLst>
            </a:custGeom>
            <a:grpFill/>
            <a:ln w="25400" cap="flat">
              <a:noFill/>
              <a:prstDash val="solid"/>
              <a:miter lim="400000"/>
            </a:ln>
            <a:effectLst/>
          </p:spPr>
          <p:txBody>
            <a:bodyPr anchor="ctr"/>
            <a:lstStyle/>
            <a:p>
              <a:pPr algn="ctr"/>
              <a:endParaRPr/>
            </a:p>
          </p:txBody>
        </p:sp>
        <p:sp>
          <p:nvSpPr>
            <p:cNvPr id="140" name="ïṣ1iḓé">
              <a:extLst>
                <a:ext uri="{FF2B5EF4-FFF2-40B4-BE49-F238E27FC236}">
                  <a16:creationId xmlns:a16="http://schemas.microsoft.com/office/drawing/2014/main" id="{FD029572-46BF-49E7-A2F2-76CDEF95DC6B}"/>
                </a:ext>
              </a:extLst>
            </p:cNvPr>
            <p:cNvSpPr/>
            <p:nvPr/>
          </p:nvSpPr>
          <p:spPr>
            <a:xfrm>
              <a:off x="10967412" y="5132660"/>
              <a:ext cx="16360" cy="28333"/>
            </a:xfrm>
            <a:custGeom>
              <a:avLst/>
              <a:gdLst/>
              <a:ahLst/>
              <a:cxnLst>
                <a:cxn ang="0">
                  <a:pos x="wd2" y="hd2"/>
                </a:cxn>
                <a:cxn ang="5400000">
                  <a:pos x="wd2" y="hd2"/>
                </a:cxn>
                <a:cxn ang="10800000">
                  <a:pos x="wd2" y="hd2"/>
                </a:cxn>
                <a:cxn ang="16200000">
                  <a:pos x="wd2" y="hd2"/>
                </a:cxn>
              </a:cxnLst>
              <a:rect l="0" t="0" r="r" b="b"/>
              <a:pathLst>
                <a:path w="21600" h="21600" extrusionOk="0">
                  <a:moveTo>
                    <a:pt x="7518" y="240"/>
                  </a:moveTo>
                  <a:lnTo>
                    <a:pt x="21579" y="0"/>
                  </a:lnTo>
                  <a:lnTo>
                    <a:pt x="21600" y="11228"/>
                  </a:lnTo>
                  <a:lnTo>
                    <a:pt x="15549" y="21600"/>
                  </a:lnTo>
                  <a:lnTo>
                    <a:pt x="2290" y="19891"/>
                  </a:lnTo>
                  <a:lnTo>
                    <a:pt x="0" y="10674"/>
                  </a:lnTo>
                  <a:lnTo>
                    <a:pt x="7518" y="240"/>
                  </a:lnTo>
                  <a:close/>
                </a:path>
              </a:pathLst>
            </a:custGeom>
            <a:grpFill/>
            <a:ln w="25400" cap="flat">
              <a:noFill/>
              <a:prstDash val="solid"/>
              <a:miter lim="400000"/>
            </a:ln>
            <a:effectLst/>
          </p:spPr>
          <p:txBody>
            <a:bodyPr anchor="ctr"/>
            <a:lstStyle/>
            <a:p>
              <a:pPr algn="ctr"/>
              <a:endParaRPr/>
            </a:p>
          </p:txBody>
        </p:sp>
        <p:sp>
          <p:nvSpPr>
            <p:cNvPr id="141" name="íṥ1idé">
              <a:extLst>
                <a:ext uri="{FF2B5EF4-FFF2-40B4-BE49-F238E27FC236}">
                  <a16:creationId xmlns:a16="http://schemas.microsoft.com/office/drawing/2014/main" id="{7456F6FF-1CFA-4CCB-A6CC-0D5A04D411DD}"/>
                </a:ext>
              </a:extLst>
            </p:cNvPr>
            <p:cNvSpPr/>
            <p:nvPr/>
          </p:nvSpPr>
          <p:spPr>
            <a:xfrm>
              <a:off x="10931870" y="4777460"/>
              <a:ext cx="105002" cy="129954"/>
            </a:xfrm>
            <a:custGeom>
              <a:avLst/>
              <a:gdLst/>
              <a:ahLst/>
              <a:cxnLst>
                <a:cxn ang="0">
                  <a:pos x="wd2" y="hd2"/>
                </a:cxn>
                <a:cxn ang="5400000">
                  <a:pos x="wd2" y="hd2"/>
                </a:cxn>
                <a:cxn ang="10800000">
                  <a:pos x="wd2" y="hd2"/>
                </a:cxn>
                <a:cxn ang="16200000">
                  <a:pos x="wd2" y="hd2"/>
                </a:cxn>
              </a:cxnLst>
              <a:rect l="0" t="0" r="r" b="b"/>
              <a:pathLst>
                <a:path w="21600" h="21600" extrusionOk="0">
                  <a:moveTo>
                    <a:pt x="2266" y="0"/>
                  </a:moveTo>
                  <a:lnTo>
                    <a:pt x="5698" y="3526"/>
                  </a:lnTo>
                  <a:lnTo>
                    <a:pt x="8576" y="7970"/>
                  </a:lnTo>
                  <a:lnTo>
                    <a:pt x="9046" y="10950"/>
                  </a:lnTo>
                  <a:lnTo>
                    <a:pt x="12812" y="12581"/>
                  </a:lnTo>
                  <a:lnTo>
                    <a:pt x="16578" y="14974"/>
                  </a:lnTo>
                  <a:lnTo>
                    <a:pt x="21600" y="18247"/>
                  </a:lnTo>
                  <a:lnTo>
                    <a:pt x="21286" y="21600"/>
                  </a:lnTo>
                  <a:lnTo>
                    <a:pt x="18775" y="21264"/>
                  </a:lnTo>
                  <a:lnTo>
                    <a:pt x="14754" y="16779"/>
                  </a:lnTo>
                  <a:lnTo>
                    <a:pt x="12093" y="15393"/>
                  </a:lnTo>
                  <a:cubicBezTo>
                    <a:pt x="11092" y="15033"/>
                    <a:pt x="10116" y="14628"/>
                    <a:pt x="9170" y="14182"/>
                  </a:cubicBezTo>
                  <a:cubicBezTo>
                    <a:pt x="8123" y="13687"/>
                    <a:pt x="7114" y="13142"/>
                    <a:pt x="6149" y="12550"/>
                  </a:cubicBezTo>
                  <a:lnTo>
                    <a:pt x="5208" y="9024"/>
                  </a:lnTo>
                  <a:lnTo>
                    <a:pt x="3272" y="6968"/>
                  </a:lnTo>
                  <a:lnTo>
                    <a:pt x="467" y="3584"/>
                  </a:lnTo>
                  <a:lnTo>
                    <a:pt x="0" y="1873"/>
                  </a:lnTo>
                  <a:lnTo>
                    <a:pt x="2266" y="0"/>
                  </a:lnTo>
                  <a:close/>
                </a:path>
              </a:pathLst>
            </a:custGeom>
            <a:grpFill/>
            <a:ln w="25400" cap="flat">
              <a:noFill/>
              <a:prstDash val="solid"/>
              <a:miter lim="400000"/>
            </a:ln>
            <a:effectLst/>
          </p:spPr>
          <p:txBody>
            <a:bodyPr anchor="ctr"/>
            <a:lstStyle/>
            <a:p>
              <a:pPr algn="ctr"/>
              <a:endParaRPr/>
            </a:p>
          </p:txBody>
        </p:sp>
        <p:sp>
          <p:nvSpPr>
            <p:cNvPr id="142" name="ïṥľîḍè">
              <a:extLst>
                <a:ext uri="{FF2B5EF4-FFF2-40B4-BE49-F238E27FC236}">
                  <a16:creationId xmlns:a16="http://schemas.microsoft.com/office/drawing/2014/main" id="{6A90D5CE-43A0-4137-A3E0-D1925258027D}"/>
                </a:ext>
              </a:extLst>
            </p:cNvPr>
            <p:cNvSpPr/>
            <p:nvPr/>
          </p:nvSpPr>
          <p:spPr>
            <a:xfrm>
              <a:off x="11078753" y="4636331"/>
              <a:ext cx="37595" cy="63302"/>
            </a:xfrm>
            <a:custGeom>
              <a:avLst/>
              <a:gdLst/>
              <a:ahLst/>
              <a:cxnLst>
                <a:cxn ang="0">
                  <a:pos x="wd2" y="hd2"/>
                </a:cxn>
                <a:cxn ang="5400000">
                  <a:pos x="wd2" y="hd2"/>
                </a:cxn>
                <a:cxn ang="10800000">
                  <a:pos x="wd2" y="hd2"/>
                </a:cxn>
                <a:cxn ang="16200000">
                  <a:pos x="wd2" y="hd2"/>
                </a:cxn>
              </a:cxnLst>
              <a:rect l="0" t="0" r="r" b="b"/>
              <a:pathLst>
                <a:path w="21600" h="21600" extrusionOk="0">
                  <a:moveTo>
                    <a:pt x="4384" y="0"/>
                  </a:moveTo>
                  <a:lnTo>
                    <a:pt x="0" y="6366"/>
                  </a:lnTo>
                  <a:lnTo>
                    <a:pt x="4998" y="11561"/>
                  </a:lnTo>
                  <a:lnTo>
                    <a:pt x="9054" y="12853"/>
                  </a:lnTo>
                  <a:lnTo>
                    <a:pt x="11974" y="16462"/>
                  </a:lnTo>
                  <a:lnTo>
                    <a:pt x="18532" y="21600"/>
                  </a:lnTo>
                  <a:lnTo>
                    <a:pt x="21600" y="18003"/>
                  </a:lnTo>
                  <a:lnTo>
                    <a:pt x="19408" y="13360"/>
                  </a:lnTo>
                  <a:lnTo>
                    <a:pt x="14184" y="10517"/>
                  </a:lnTo>
                  <a:lnTo>
                    <a:pt x="9965" y="6822"/>
                  </a:lnTo>
                  <a:lnTo>
                    <a:pt x="9528" y="3503"/>
                  </a:lnTo>
                  <a:lnTo>
                    <a:pt x="4384" y="0"/>
                  </a:lnTo>
                  <a:close/>
                </a:path>
              </a:pathLst>
            </a:custGeom>
            <a:grpFill/>
            <a:ln w="25400" cap="flat">
              <a:noFill/>
              <a:prstDash val="solid"/>
              <a:miter lim="400000"/>
            </a:ln>
            <a:effectLst/>
          </p:spPr>
          <p:txBody>
            <a:bodyPr anchor="ctr"/>
            <a:lstStyle/>
            <a:p>
              <a:pPr algn="ctr"/>
              <a:endParaRPr/>
            </a:p>
          </p:txBody>
        </p:sp>
        <p:sp>
          <p:nvSpPr>
            <p:cNvPr id="143" name="îSḻîďé">
              <a:extLst>
                <a:ext uri="{FF2B5EF4-FFF2-40B4-BE49-F238E27FC236}">
                  <a16:creationId xmlns:a16="http://schemas.microsoft.com/office/drawing/2014/main" id="{A146FAE0-99D6-420D-941B-2C89104E1CBF}"/>
                </a:ext>
              </a:extLst>
            </p:cNvPr>
            <p:cNvSpPr/>
            <p:nvPr/>
          </p:nvSpPr>
          <p:spPr>
            <a:xfrm>
              <a:off x="10694096" y="4283499"/>
              <a:ext cx="45740" cy="64407"/>
            </a:xfrm>
            <a:custGeom>
              <a:avLst/>
              <a:gdLst/>
              <a:ahLst/>
              <a:cxnLst>
                <a:cxn ang="0">
                  <a:pos x="wd2" y="hd2"/>
                </a:cxn>
                <a:cxn ang="5400000">
                  <a:pos x="wd2" y="hd2"/>
                </a:cxn>
                <a:cxn ang="10800000">
                  <a:pos x="wd2" y="hd2"/>
                </a:cxn>
                <a:cxn ang="16200000">
                  <a:pos x="wd2" y="hd2"/>
                </a:cxn>
              </a:cxnLst>
              <a:rect l="0" t="0" r="r" b="b"/>
              <a:pathLst>
                <a:path w="21600" h="21600" extrusionOk="0">
                  <a:moveTo>
                    <a:pt x="4335" y="0"/>
                  </a:moveTo>
                  <a:lnTo>
                    <a:pt x="8612" y="423"/>
                  </a:lnTo>
                  <a:lnTo>
                    <a:pt x="9548" y="10168"/>
                  </a:lnTo>
                  <a:lnTo>
                    <a:pt x="15069" y="14477"/>
                  </a:lnTo>
                  <a:lnTo>
                    <a:pt x="21600" y="16858"/>
                  </a:lnTo>
                  <a:lnTo>
                    <a:pt x="19199" y="21600"/>
                  </a:lnTo>
                  <a:lnTo>
                    <a:pt x="11398" y="20763"/>
                  </a:lnTo>
                  <a:lnTo>
                    <a:pt x="5755" y="17207"/>
                  </a:lnTo>
                  <a:lnTo>
                    <a:pt x="9" y="12157"/>
                  </a:lnTo>
                  <a:lnTo>
                    <a:pt x="0" y="6578"/>
                  </a:lnTo>
                  <a:lnTo>
                    <a:pt x="4335" y="0"/>
                  </a:lnTo>
                  <a:close/>
                </a:path>
              </a:pathLst>
            </a:custGeom>
            <a:grpFill/>
            <a:ln w="25400" cap="flat">
              <a:noFill/>
              <a:prstDash val="solid"/>
              <a:miter lim="400000"/>
            </a:ln>
            <a:effectLst/>
          </p:spPr>
          <p:txBody>
            <a:bodyPr anchor="ctr"/>
            <a:lstStyle/>
            <a:p>
              <a:pPr algn="ctr"/>
              <a:endParaRPr/>
            </a:p>
          </p:txBody>
        </p:sp>
        <p:sp>
          <p:nvSpPr>
            <p:cNvPr id="144" name="ïSļiďè">
              <a:extLst>
                <a:ext uri="{FF2B5EF4-FFF2-40B4-BE49-F238E27FC236}">
                  <a16:creationId xmlns:a16="http://schemas.microsoft.com/office/drawing/2014/main" id="{E4793A90-FB0E-402B-A725-3FBDD5508922}"/>
                </a:ext>
              </a:extLst>
            </p:cNvPr>
            <p:cNvSpPr/>
            <p:nvPr/>
          </p:nvSpPr>
          <p:spPr>
            <a:xfrm>
              <a:off x="10754669" y="4332994"/>
              <a:ext cx="45601" cy="39490"/>
            </a:xfrm>
            <a:custGeom>
              <a:avLst/>
              <a:gdLst/>
              <a:ahLst/>
              <a:cxnLst>
                <a:cxn ang="0">
                  <a:pos x="wd2" y="hd2"/>
                </a:cxn>
                <a:cxn ang="5400000">
                  <a:pos x="wd2" y="hd2"/>
                </a:cxn>
                <a:cxn ang="10800000">
                  <a:pos x="wd2" y="hd2"/>
                </a:cxn>
                <a:cxn ang="16200000">
                  <a:pos x="wd2" y="hd2"/>
                </a:cxn>
              </a:cxnLst>
              <a:rect l="0" t="0" r="r" b="b"/>
              <a:pathLst>
                <a:path w="21600" h="21600" extrusionOk="0">
                  <a:moveTo>
                    <a:pt x="7085" y="0"/>
                  </a:moveTo>
                  <a:lnTo>
                    <a:pt x="17293" y="9046"/>
                  </a:lnTo>
                  <a:lnTo>
                    <a:pt x="21600" y="14848"/>
                  </a:lnTo>
                  <a:lnTo>
                    <a:pt x="21013" y="21600"/>
                  </a:lnTo>
                  <a:lnTo>
                    <a:pt x="12837" y="18854"/>
                  </a:lnTo>
                  <a:lnTo>
                    <a:pt x="5986" y="12225"/>
                  </a:lnTo>
                  <a:lnTo>
                    <a:pt x="0" y="7390"/>
                  </a:lnTo>
                  <a:lnTo>
                    <a:pt x="7085" y="0"/>
                  </a:lnTo>
                  <a:close/>
                </a:path>
              </a:pathLst>
            </a:custGeom>
            <a:grpFill/>
            <a:ln w="25400" cap="flat">
              <a:noFill/>
              <a:prstDash val="solid"/>
              <a:miter lim="400000"/>
            </a:ln>
            <a:effectLst/>
          </p:spPr>
          <p:txBody>
            <a:bodyPr anchor="ctr"/>
            <a:lstStyle/>
            <a:p>
              <a:pPr algn="ctr"/>
              <a:endParaRPr/>
            </a:p>
          </p:txBody>
        </p:sp>
        <p:sp>
          <p:nvSpPr>
            <p:cNvPr id="145" name="iš1íḑê">
              <a:extLst>
                <a:ext uri="{FF2B5EF4-FFF2-40B4-BE49-F238E27FC236}">
                  <a16:creationId xmlns:a16="http://schemas.microsoft.com/office/drawing/2014/main" id="{A775251A-34CE-45DA-8D3F-AE45259AC490}"/>
                </a:ext>
              </a:extLst>
            </p:cNvPr>
            <p:cNvSpPr/>
            <p:nvPr/>
          </p:nvSpPr>
          <p:spPr>
            <a:xfrm>
              <a:off x="10773772" y="4386273"/>
              <a:ext cx="37288" cy="38949"/>
            </a:xfrm>
            <a:custGeom>
              <a:avLst/>
              <a:gdLst/>
              <a:ahLst/>
              <a:cxnLst>
                <a:cxn ang="0">
                  <a:pos x="wd2" y="hd2"/>
                </a:cxn>
                <a:cxn ang="5400000">
                  <a:pos x="wd2" y="hd2"/>
                </a:cxn>
                <a:cxn ang="10800000">
                  <a:pos x="wd2" y="hd2"/>
                </a:cxn>
                <a:cxn ang="16200000">
                  <a:pos x="wd2" y="hd2"/>
                </a:cxn>
              </a:cxnLst>
              <a:rect l="0" t="0" r="r" b="b"/>
              <a:pathLst>
                <a:path w="21600" h="21600" extrusionOk="0">
                  <a:moveTo>
                    <a:pt x="6399" y="0"/>
                  </a:moveTo>
                  <a:lnTo>
                    <a:pt x="12290" y="1855"/>
                  </a:lnTo>
                  <a:lnTo>
                    <a:pt x="12799" y="9871"/>
                  </a:lnTo>
                  <a:lnTo>
                    <a:pt x="15725" y="15036"/>
                  </a:lnTo>
                  <a:lnTo>
                    <a:pt x="21600" y="16577"/>
                  </a:lnTo>
                  <a:lnTo>
                    <a:pt x="18230" y="21600"/>
                  </a:lnTo>
                  <a:lnTo>
                    <a:pt x="12781" y="19919"/>
                  </a:lnTo>
                  <a:cubicBezTo>
                    <a:pt x="10763" y="19240"/>
                    <a:pt x="9023" y="17972"/>
                    <a:pt x="7808" y="16297"/>
                  </a:cubicBezTo>
                  <a:cubicBezTo>
                    <a:pt x="6475" y="14458"/>
                    <a:pt x="5850" y="12237"/>
                    <a:pt x="6040" y="10011"/>
                  </a:cubicBezTo>
                  <a:lnTo>
                    <a:pt x="0" y="5671"/>
                  </a:lnTo>
                  <a:lnTo>
                    <a:pt x="6399" y="0"/>
                  </a:lnTo>
                  <a:close/>
                </a:path>
              </a:pathLst>
            </a:custGeom>
            <a:grpFill/>
            <a:ln w="25400" cap="flat">
              <a:noFill/>
              <a:prstDash val="solid"/>
              <a:miter lim="400000"/>
            </a:ln>
            <a:effectLst/>
          </p:spPr>
          <p:txBody>
            <a:bodyPr anchor="ctr"/>
            <a:lstStyle/>
            <a:p>
              <a:pPr algn="ctr"/>
              <a:endParaRPr/>
            </a:p>
          </p:txBody>
        </p:sp>
        <p:sp>
          <p:nvSpPr>
            <p:cNvPr id="146" name="iṧḷîḑè">
              <a:extLst>
                <a:ext uri="{FF2B5EF4-FFF2-40B4-BE49-F238E27FC236}">
                  <a16:creationId xmlns:a16="http://schemas.microsoft.com/office/drawing/2014/main" id="{94C751BC-967B-407F-98B1-7E0AB45C951F}"/>
                </a:ext>
              </a:extLst>
            </p:cNvPr>
            <p:cNvSpPr/>
            <p:nvPr/>
          </p:nvSpPr>
          <p:spPr>
            <a:xfrm>
              <a:off x="10819989" y="4368723"/>
              <a:ext cx="46739" cy="42114"/>
            </a:xfrm>
            <a:custGeom>
              <a:avLst/>
              <a:gdLst/>
              <a:ahLst/>
              <a:cxnLst>
                <a:cxn ang="0">
                  <a:pos x="wd2" y="hd2"/>
                </a:cxn>
                <a:cxn ang="5400000">
                  <a:pos x="wd2" y="hd2"/>
                </a:cxn>
                <a:cxn ang="10800000">
                  <a:pos x="wd2" y="hd2"/>
                </a:cxn>
                <a:cxn ang="16200000">
                  <a:pos x="wd2" y="hd2"/>
                </a:cxn>
              </a:cxnLst>
              <a:rect l="0" t="0" r="r" b="b"/>
              <a:pathLst>
                <a:path w="21600" h="21600" extrusionOk="0">
                  <a:moveTo>
                    <a:pt x="4105" y="0"/>
                  </a:moveTo>
                  <a:lnTo>
                    <a:pt x="8950" y="5326"/>
                  </a:lnTo>
                  <a:lnTo>
                    <a:pt x="16429" y="10105"/>
                  </a:lnTo>
                  <a:lnTo>
                    <a:pt x="21247" y="15787"/>
                  </a:lnTo>
                  <a:lnTo>
                    <a:pt x="21600" y="21227"/>
                  </a:lnTo>
                  <a:lnTo>
                    <a:pt x="14814" y="21600"/>
                  </a:lnTo>
                  <a:lnTo>
                    <a:pt x="10715" y="19268"/>
                  </a:lnTo>
                  <a:lnTo>
                    <a:pt x="6249" y="13959"/>
                  </a:lnTo>
                  <a:lnTo>
                    <a:pt x="3576" y="9700"/>
                  </a:lnTo>
                  <a:lnTo>
                    <a:pt x="25" y="6121"/>
                  </a:lnTo>
                  <a:lnTo>
                    <a:pt x="0" y="1589"/>
                  </a:lnTo>
                  <a:lnTo>
                    <a:pt x="4105" y="0"/>
                  </a:lnTo>
                  <a:close/>
                </a:path>
              </a:pathLst>
            </a:custGeom>
            <a:grpFill/>
            <a:ln w="25400" cap="flat">
              <a:noFill/>
              <a:prstDash val="solid"/>
              <a:miter lim="400000"/>
            </a:ln>
            <a:effectLst/>
          </p:spPr>
          <p:txBody>
            <a:bodyPr anchor="ctr"/>
            <a:lstStyle/>
            <a:p>
              <a:pPr algn="ctr"/>
              <a:endParaRPr/>
            </a:p>
          </p:txBody>
        </p:sp>
        <p:sp>
          <p:nvSpPr>
            <p:cNvPr id="147" name="ïšlíďe">
              <a:extLst>
                <a:ext uri="{FF2B5EF4-FFF2-40B4-BE49-F238E27FC236}">
                  <a16:creationId xmlns:a16="http://schemas.microsoft.com/office/drawing/2014/main" id="{03DC2FA9-FAC3-445C-900F-8F9E9CFBD737}"/>
                </a:ext>
              </a:extLst>
            </p:cNvPr>
            <p:cNvSpPr/>
            <p:nvPr/>
          </p:nvSpPr>
          <p:spPr>
            <a:xfrm>
              <a:off x="10844148" y="4433313"/>
              <a:ext cx="37473" cy="23925"/>
            </a:xfrm>
            <a:custGeom>
              <a:avLst/>
              <a:gdLst/>
              <a:ahLst/>
              <a:cxnLst>
                <a:cxn ang="0">
                  <a:pos x="wd2" y="hd2"/>
                </a:cxn>
                <a:cxn ang="5400000">
                  <a:pos x="wd2" y="hd2"/>
                </a:cxn>
                <a:cxn ang="10800000">
                  <a:pos x="wd2" y="hd2"/>
                </a:cxn>
                <a:cxn ang="16200000">
                  <a:pos x="wd2" y="hd2"/>
                </a:cxn>
              </a:cxnLst>
              <a:rect l="0" t="0" r="r" b="b"/>
              <a:pathLst>
                <a:path w="21600" h="21600" extrusionOk="0">
                  <a:moveTo>
                    <a:pt x="8649" y="530"/>
                  </a:moveTo>
                  <a:lnTo>
                    <a:pt x="13099" y="8995"/>
                  </a:lnTo>
                  <a:lnTo>
                    <a:pt x="21600" y="8519"/>
                  </a:lnTo>
                  <a:lnTo>
                    <a:pt x="21600" y="17555"/>
                  </a:lnTo>
                  <a:lnTo>
                    <a:pt x="15901" y="21600"/>
                  </a:lnTo>
                  <a:lnTo>
                    <a:pt x="8481" y="18211"/>
                  </a:lnTo>
                  <a:lnTo>
                    <a:pt x="1799" y="7978"/>
                  </a:lnTo>
                  <a:lnTo>
                    <a:pt x="0" y="0"/>
                  </a:lnTo>
                  <a:lnTo>
                    <a:pt x="8649" y="530"/>
                  </a:lnTo>
                  <a:close/>
                </a:path>
              </a:pathLst>
            </a:custGeom>
            <a:grpFill/>
            <a:ln w="25400" cap="flat">
              <a:noFill/>
              <a:prstDash val="solid"/>
              <a:miter lim="400000"/>
            </a:ln>
            <a:effectLst/>
          </p:spPr>
          <p:txBody>
            <a:bodyPr anchor="ctr"/>
            <a:lstStyle/>
            <a:p>
              <a:pPr algn="ctr"/>
              <a:endParaRPr/>
            </a:p>
          </p:txBody>
        </p:sp>
        <p:sp>
          <p:nvSpPr>
            <p:cNvPr id="148" name="ïŝľíḑè">
              <a:extLst>
                <a:ext uri="{FF2B5EF4-FFF2-40B4-BE49-F238E27FC236}">
                  <a16:creationId xmlns:a16="http://schemas.microsoft.com/office/drawing/2014/main" id="{4B3AF95C-CF50-44F1-8C6E-F3CA1118D85F}"/>
                </a:ext>
              </a:extLst>
            </p:cNvPr>
            <p:cNvSpPr/>
            <p:nvPr/>
          </p:nvSpPr>
          <p:spPr>
            <a:xfrm>
              <a:off x="10888902" y="4398838"/>
              <a:ext cx="27449" cy="54123"/>
            </a:xfrm>
            <a:custGeom>
              <a:avLst/>
              <a:gdLst/>
              <a:ahLst/>
              <a:cxnLst>
                <a:cxn ang="0">
                  <a:pos x="wd2" y="hd2"/>
                </a:cxn>
                <a:cxn ang="5400000">
                  <a:pos x="wd2" y="hd2"/>
                </a:cxn>
                <a:cxn ang="10800000">
                  <a:pos x="wd2" y="hd2"/>
                </a:cxn>
                <a:cxn ang="16200000">
                  <a:pos x="wd2" y="hd2"/>
                </a:cxn>
              </a:cxnLst>
              <a:rect l="0" t="0" r="r" b="b"/>
              <a:pathLst>
                <a:path w="21600" h="21600" extrusionOk="0">
                  <a:moveTo>
                    <a:pt x="4203" y="0"/>
                  </a:moveTo>
                  <a:lnTo>
                    <a:pt x="0" y="4749"/>
                  </a:lnTo>
                  <a:lnTo>
                    <a:pt x="263" y="12857"/>
                  </a:lnTo>
                  <a:lnTo>
                    <a:pt x="8018" y="13953"/>
                  </a:lnTo>
                  <a:lnTo>
                    <a:pt x="8018" y="17984"/>
                  </a:lnTo>
                  <a:lnTo>
                    <a:pt x="13422" y="21600"/>
                  </a:lnTo>
                  <a:lnTo>
                    <a:pt x="21600" y="17064"/>
                  </a:lnTo>
                  <a:lnTo>
                    <a:pt x="14422" y="12038"/>
                  </a:lnTo>
                  <a:lnTo>
                    <a:pt x="7443" y="8221"/>
                  </a:lnTo>
                  <a:lnTo>
                    <a:pt x="4203" y="0"/>
                  </a:lnTo>
                  <a:close/>
                </a:path>
              </a:pathLst>
            </a:custGeom>
            <a:grpFill/>
            <a:ln w="25400" cap="flat">
              <a:noFill/>
              <a:prstDash val="solid"/>
              <a:miter lim="400000"/>
            </a:ln>
            <a:effectLst/>
          </p:spPr>
          <p:txBody>
            <a:bodyPr anchor="ctr"/>
            <a:lstStyle/>
            <a:p>
              <a:pPr algn="ctr"/>
              <a:endParaRPr/>
            </a:p>
          </p:txBody>
        </p:sp>
        <p:sp>
          <p:nvSpPr>
            <p:cNvPr id="149" name="íSḷídé">
              <a:extLst>
                <a:ext uri="{FF2B5EF4-FFF2-40B4-BE49-F238E27FC236}">
                  <a16:creationId xmlns:a16="http://schemas.microsoft.com/office/drawing/2014/main" id="{FDB65167-5853-43DB-90A5-8BC17BD0D0CE}"/>
                </a:ext>
              </a:extLst>
            </p:cNvPr>
            <p:cNvSpPr/>
            <p:nvPr/>
          </p:nvSpPr>
          <p:spPr>
            <a:xfrm>
              <a:off x="10903842" y="4471308"/>
              <a:ext cx="24415" cy="2107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703" y="9868"/>
                  </a:lnTo>
                  <a:lnTo>
                    <a:pt x="12853" y="21600"/>
                  </a:lnTo>
                  <a:lnTo>
                    <a:pt x="21600" y="16680"/>
                  </a:lnTo>
                  <a:lnTo>
                    <a:pt x="12403" y="144"/>
                  </a:lnTo>
                  <a:lnTo>
                    <a:pt x="0" y="0"/>
                  </a:lnTo>
                  <a:close/>
                </a:path>
              </a:pathLst>
            </a:custGeom>
            <a:grpFill/>
            <a:ln w="25400" cap="flat">
              <a:noFill/>
              <a:prstDash val="solid"/>
              <a:miter lim="400000"/>
            </a:ln>
            <a:effectLst/>
          </p:spPr>
          <p:txBody>
            <a:bodyPr anchor="ctr"/>
            <a:lstStyle/>
            <a:p>
              <a:pPr algn="ctr"/>
              <a:endParaRPr/>
            </a:p>
          </p:txBody>
        </p:sp>
        <p:sp>
          <p:nvSpPr>
            <p:cNvPr id="150" name="iśļîde">
              <a:extLst>
                <a:ext uri="{FF2B5EF4-FFF2-40B4-BE49-F238E27FC236}">
                  <a16:creationId xmlns:a16="http://schemas.microsoft.com/office/drawing/2014/main" id="{62DC7EF6-603F-497A-87B5-D678828295EE}"/>
                </a:ext>
              </a:extLst>
            </p:cNvPr>
            <p:cNvSpPr/>
            <p:nvPr/>
          </p:nvSpPr>
          <p:spPr>
            <a:xfrm>
              <a:off x="10588123" y="4181404"/>
              <a:ext cx="87031" cy="76197"/>
            </a:xfrm>
            <a:custGeom>
              <a:avLst/>
              <a:gdLst/>
              <a:ahLst/>
              <a:cxnLst>
                <a:cxn ang="0">
                  <a:pos x="wd2" y="hd2"/>
                </a:cxn>
                <a:cxn ang="5400000">
                  <a:pos x="wd2" y="hd2"/>
                </a:cxn>
                <a:cxn ang="10800000">
                  <a:pos x="wd2" y="hd2"/>
                </a:cxn>
                <a:cxn ang="16200000">
                  <a:pos x="wd2" y="hd2"/>
                </a:cxn>
              </a:cxnLst>
              <a:rect l="0" t="0" r="r" b="b"/>
              <a:pathLst>
                <a:path w="21600" h="21600" extrusionOk="0">
                  <a:moveTo>
                    <a:pt x="560" y="0"/>
                  </a:moveTo>
                  <a:lnTo>
                    <a:pt x="0" y="2479"/>
                  </a:lnTo>
                  <a:lnTo>
                    <a:pt x="4688" y="4518"/>
                  </a:lnTo>
                  <a:lnTo>
                    <a:pt x="9042" y="7739"/>
                  </a:lnTo>
                  <a:lnTo>
                    <a:pt x="12639" y="11175"/>
                  </a:lnTo>
                  <a:lnTo>
                    <a:pt x="16173" y="15327"/>
                  </a:lnTo>
                  <a:lnTo>
                    <a:pt x="17687" y="21385"/>
                  </a:lnTo>
                  <a:lnTo>
                    <a:pt x="21600" y="21600"/>
                  </a:lnTo>
                  <a:lnTo>
                    <a:pt x="19336" y="12589"/>
                  </a:lnTo>
                  <a:lnTo>
                    <a:pt x="12733" y="8079"/>
                  </a:lnTo>
                  <a:lnTo>
                    <a:pt x="7069" y="2791"/>
                  </a:lnTo>
                  <a:lnTo>
                    <a:pt x="3732" y="804"/>
                  </a:lnTo>
                  <a:lnTo>
                    <a:pt x="560" y="0"/>
                  </a:lnTo>
                  <a:close/>
                </a:path>
              </a:pathLst>
            </a:custGeom>
            <a:grpFill/>
            <a:ln w="25400" cap="flat">
              <a:noFill/>
              <a:prstDash val="solid"/>
              <a:miter lim="400000"/>
            </a:ln>
            <a:effectLst/>
          </p:spPr>
          <p:txBody>
            <a:bodyPr anchor="ctr"/>
            <a:lstStyle/>
            <a:p>
              <a:pPr algn="ctr"/>
              <a:endParaRPr/>
            </a:p>
          </p:txBody>
        </p:sp>
        <p:sp>
          <p:nvSpPr>
            <p:cNvPr id="151" name="íṣḻíḍé">
              <a:extLst>
                <a:ext uri="{FF2B5EF4-FFF2-40B4-BE49-F238E27FC236}">
                  <a16:creationId xmlns:a16="http://schemas.microsoft.com/office/drawing/2014/main" id="{2FF5B9C4-BB26-40CE-A0FE-C7B483A6BAA1}"/>
                </a:ext>
              </a:extLst>
            </p:cNvPr>
            <p:cNvSpPr/>
            <p:nvPr/>
          </p:nvSpPr>
          <p:spPr>
            <a:xfrm>
              <a:off x="10528896" y="4237475"/>
              <a:ext cx="115414" cy="92661"/>
            </a:xfrm>
            <a:custGeom>
              <a:avLst/>
              <a:gdLst/>
              <a:ahLst/>
              <a:cxnLst>
                <a:cxn ang="0">
                  <a:pos x="wd2" y="hd2"/>
                </a:cxn>
                <a:cxn ang="5400000">
                  <a:pos x="wd2" y="hd2"/>
                </a:cxn>
                <a:cxn ang="10800000">
                  <a:pos x="wd2" y="hd2"/>
                </a:cxn>
                <a:cxn ang="16200000">
                  <a:pos x="wd2" y="hd2"/>
                </a:cxn>
              </a:cxnLst>
              <a:rect l="0" t="0" r="r" b="b"/>
              <a:pathLst>
                <a:path w="21600" h="21600" extrusionOk="0">
                  <a:moveTo>
                    <a:pt x="18234" y="5118"/>
                  </a:moveTo>
                  <a:lnTo>
                    <a:pt x="15276" y="8929"/>
                  </a:lnTo>
                  <a:lnTo>
                    <a:pt x="12042" y="12689"/>
                  </a:lnTo>
                  <a:lnTo>
                    <a:pt x="9529" y="13918"/>
                  </a:lnTo>
                  <a:lnTo>
                    <a:pt x="6129" y="13388"/>
                  </a:lnTo>
                  <a:lnTo>
                    <a:pt x="4458" y="14970"/>
                  </a:lnTo>
                  <a:lnTo>
                    <a:pt x="2410" y="14970"/>
                  </a:lnTo>
                  <a:lnTo>
                    <a:pt x="0" y="15500"/>
                  </a:lnTo>
                  <a:lnTo>
                    <a:pt x="1862" y="17604"/>
                  </a:lnTo>
                  <a:lnTo>
                    <a:pt x="4420" y="17781"/>
                  </a:lnTo>
                  <a:lnTo>
                    <a:pt x="6466" y="21431"/>
                  </a:lnTo>
                  <a:lnTo>
                    <a:pt x="8263" y="21600"/>
                  </a:lnTo>
                  <a:lnTo>
                    <a:pt x="9828" y="19488"/>
                  </a:lnTo>
                  <a:lnTo>
                    <a:pt x="11671" y="17906"/>
                  </a:lnTo>
                  <a:lnTo>
                    <a:pt x="15657" y="16508"/>
                  </a:lnTo>
                  <a:lnTo>
                    <a:pt x="18364" y="13167"/>
                  </a:lnTo>
                  <a:lnTo>
                    <a:pt x="19934" y="9988"/>
                  </a:lnTo>
                  <a:lnTo>
                    <a:pt x="21457" y="7288"/>
                  </a:lnTo>
                  <a:lnTo>
                    <a:pt x="21600" y="3285"/>
                  </a:lnTo>
                  <a:lnTo>
                    <a:pt x="19702" y="0"/>
                  </a:lnTo>
                  <a:lnTo>
                    <a:pt x="19131" y="2158"/>
                  </a:lnTo>
                  <a:lnTo>
                    <a:pt x="18234" y="5118"/>
                  </a:lnTo>
                  <a:close/>
                </a:path>
              </a:pathLst>
            </a:custGeom>
            <a:grpFill/>
            <a:ln w="25400" cap="flat">
              <a:noFill/>
              <a:prstDash val="solid"/>
              <a:miter lim="400000"/>
            </a:ln>
            <a:effectLst/>
          </p:spPr>
          <p:txBody>
            <a:bodyPr anchor="ctr"/>
            <a:lstStyle/>
            <a:p>
              <a:pPr algn="ctr"/>
              <a:endParaRPr/>
            </a:p>
          </p:txBody>
        </p:sp>
        <p:sp>
          <p:nvSpPr>
            <p:cNvPr id="152" name="îsľîḓe">
              <a:extLst>
                <a:ext uri="{FF2B5EF4-FFF2-40B4-BE49-F238E27FC236}">
                  <a16:creationId xmlns:a16="http://schemas.microsoft.com/office/drawing/2014/main" id="{D3904183-A97B-4C24-895E-1B94A4E6846D}"/>
                </a:ext>
              </a:extLst>
            </p:cNvPr>
            <p:cNvSpPr/>
            <p:nvPr/>
          </p:nvSpPr>
          <p:spPr>
            <a:xfrm>
              <a:off x="9937920" y="4105530"/>
              <a:ext cx="657773" cy="388722"/>
            </a:xfrm>
            <a:custGeom>
              <a:avLst/>
              <a:gdLst/>
              <a:ahLst/>
              <a:cxnLst>
                <a:cxn ang="0">
                  <a:pos x="wd2" y="hd2"/>
                </a:cxn>
                <a:cxn ang="5400000">
                  <a:pos x="wd2" y="hd2"/>
                </a:cxn>
                <a:cxn ang="10800000">
                  <a:pos x="wd2" y="hd2"/>
                </a:cxn>
                <a:cxn ang="16200000">
                  <a:pos x="wd2" y="hd2"/>
                </a:cxn>
              </a:cxnLst>
              <a:rect l="0" t="0" r="r" b="b"/>
              <a:pathLst>
                <a:path w="21600" h="21600" extrusionOk="0">
                  <a:moveTo>
                    <a:pt x="339" y="1069"/>
                  </a:moveTo>
                  <a:lnTo>
                    <a:pt x="1040" y="903"/>
                  </a:lnTo>
                  <a:lnTo>
                    <a:pt x="1266" y="12"/>
                  </a:lnTo>
                  <a:lnTo>
                    <a:pt x="2016" y="0"/>
                  </a:lnTo>
                  <a:lnTo>
                    <a:pt x="2684" y="12"/>
                  </a:lnTo>
                  <a:lnTo>
                    <a:pt x="2808" y="1131"/>
                  </a:lnTo>
                  <a:lnTo>
                    <a:pt x="3150" y="1972"/>
                  </a:lnTo>
                  <a:lnTo>
                    <a:pt x="3342" y="2473"/>
                  </a:lnTo>
                  <a:lnTo>
                    <a:pt x="3192" y="3510"/>
                  </a:lnTo>
                  <a:lnTo>
                    <a:pt x="3218" y="4141"/>
                  </a:lnTo>
                  <a:lnTo>
                    <a:pt x="3692" y="4939"/>
                  </a:lnTo>
                  <a:lnTo>
                    <a:pt x="4067" y="5627"/>
                  </a:lnTo>
                  <a:lnTo>
                    <a:pt x="4526" y="6342"/>
                  </a:lnTo>
                  <a:cubicBezTo>
                    <a:pt x="4633" y="6179"/>
                    <a:pt x="4728" y="5996"/>
                    <a:pt x="4809" y="5795"/>
                  </a:cubicBezTo>
                  <a:cubicBezTo>
                    <a:pt x="4941" y="5469"/>
                    <a:pt x="5034" y="5102"/>
                    <a:pt x="5083" y="4716"/>
                  </a:cubicBezTo>
                  <a:lnTo>
                    <a:pt x="5451" y="4478"/>
                  </a:lnTo>
                  <a:lnTo>
                    <a:pt x="6119" y="3931"/>
                  </a:lnTo>
                  <a:lnTo>
                    <a:pt x="6668" y="3385"/>
                  </a:lnTo>
                  <a:lnTo>
                    <a:pt x="7068" y="2838"/>
                  </a:lnTo>
                  <a:lnTo>
                    <a:pt x="7444" y="2122"/>
                  </a:lnTo>
                  <a:lnTo>
                    <a:pt x="8137" y="2122"/>
                  </a:lnTo>
                  <a:cubicBezTo>
                    <a:pt x="8213" y="2262"/>
                    <a:pt x="8288" y="2402"/>
                    <a:pt x="8362" y="2543"/>
                  </a:cubicBezTo>
                  <a:cubicBezTo>
                    <a:pt x="8481" y="2766"/>
                    <a:pt x="8597" y="2991"/>
                    <a:pt x="8713" y="3217"/>
                  </a:cubicBezTo>
                  <a:lnTo>
                    <a:pt x="9356" y="3708"/>
                  </a:lnTo>
                  <a:lnTo>
                    <a:pt x="10017" y="3953"/>
                  </a:lnTo>
                  <a:lnTo>
                    <a:pt x="10667" y="4583"/>
                  </a:lnTo>
                  <a:lnTo>
                    <a:pt x="11719" y="5004"/>
                  </a:lnTo>
                  <a:lnTo>
                    <a:pt x="12420" y="5579"/>
                  </a:lnTo>
                  <a:lnTo>
                    <a:pt x="13814" y="6239"/>
                  </a:lnTo>
                  <a:lnTo>
                    <a:pt x="14716" y="7388"/>
                  </a:lnTo>
                  <a:lnTo>
                    <a:pt x="15776" y="8749"/>
                  </a:lnTo>
                  <a:lnTo>
                    <a:pt x="16728" y="9464"/>
                  </a:lnTo>
                  <a:lnTo>
                    <a:pt x="17354" y="9911"/>
                  </a:lnTo>
                  <a:lnTo>
                    <a:pt x="17855" y="11325"/>
                  </a:lnTo>
                  <a:lnTo>
                    <a:pt x="18106" y="12349"/>
                  </a:lnTo>
                  <a:lnTo>
                    <a:pt x="17539" y="12799"/>
                  </a:lnTo>
                  <a:lnTo>
                    <a:pt x="17349" y="13484"/>
                  </a:lnTo>
                  <a:lnTo>
                    <a:pt x="17608" y="14382"/>
                  </a:lnTo>
                  <a:lnTo>
                    <a:pt x="18326" y="15070"/>
                  </a:lnTo>
                  <a:lnTo>
                    <a:pt x="18350" y="15982"/>
                  </a:lnTo>
                  <a:lnTo>
                    <a:pt x="18350" y="16933"/>
                  </a:lnTo>
                  <a:lnTo>
                    <a:pt x="18733" y="17701"/>
                  </a:lnTo>
                  <a:lnTo>
                    <a:pt x="19484" y="18246"/>
                  </a:lnTo>
                  <a:lnTo>
                    <a:pt x="20127" y="18373"/>
                  </a:lnTo>
                  <a:lnTo>
                    <a:pt x="20650" y="19209"/>
                  </a:lnTo>
                  <a:lnTo>
                    <a:pt x="21276" y="20051"/>
                  </a:lnTo>
                  <a:lnTo>
                    <a:pt x="21600" y="21054"/>
                  </a:lnTo>
                  <a:lnTo>
                    <a:pt x="21500" y="21600"/>
                  </a:lnTo>
                  <a:lnTo>
                    <a:pt x="20623" y="21026"/>
                  </a:lnTo>
                  <a:lnTo>
                    <a:pt x="20131" y="20705"/>
                  </a:lnTo>
                  <a:lnTo>
                    <a:pt x="19072" y="20663"/>
                  </a:lnTo>
                  <a:lnTo>
                    <a:pt x="18170" y="20158"/>
                  </a:lnTo>
                  <a:lnTo>
                    <a:pt x="17728" y="19485"/>
                  </a:lnTo>
                  <a:lnTo>
                    <a:pt x="17478" y="18967"/>
                  </a:lnTo>
                  <a:lnTo>
                    <a:pt x="17228" y="17746"/>
                  </a:lnTo>
                  <a:lnTo>
                    <a:pt x="16877" y="16708"/>
                  </a:lnTo>
                  <a:lnTo>
                    <a:pt x="16402" y="15951"/>
                  </a:lnTo>
                  <a:lnTo>
                    <a:pt x="15525" y="14954"/>
                  </a:lnTo>
                  <a:lnTo>
                    <a:pt x="14876" y="14284"/>
                  </a:lnTo>
                  <a:lnTo>
                    <a:pt x="14242" y="14284"/>
                  </a:lnTo>
                  <a:lnTo>
                    <a:pt x="13699" y="15489"/>
                  </a:lnTo>
                  <a:cubicBezTo>
                    <a:pt x="13655" y="15662"/>
                    <a:pt x="13604" y="15830"/>
                    <a:pt x="13549" y="15993"/>
                  </a:cubicBezTo>
                  <a:cubicBezTo>
                    <a:pt x="13430" y="16338"/>
                    <a:pt x="13287" y="16658"/>
                    <a:pt x="13123" y="16945"/>
                  </a:cubicBezTo>
                  <a:lnTo>
                    <a:pt x="12398" y="17785"/>
                  </a:lnTo>
                  <a:lnTo>
                    <a:pt x="11380" y="17196"/>
                  </a:lnTo>
                  <a:lnTo>
                    <a:pt x="10929" y="17070"/>
                  </a:lnTo>
                  <a:cubicBezTo>
                    <a:pt x="10778" y="17231"/>
                    <a:pt x="10588" y="17247"/>
                    <a:pt x="10429" y="17112"/>
                  </a:cubicBezTo>
                  <a:cubicBezTo>
                    <a:pt x="10275" y="16981"/>
                    <a:pt x="10172" y="16728"/>
                    <a:pt x="10154" y="16440"/>
                  </a:cubicBezTo>
                  <a:lnTo>
                    <a:pt x="9620" y="15752"/>
                  </a:lnTo>
                  <a:lnTo>
                    <a:pt x="9169" y="15416"/>
                  </a:lnTo>
                  <a:lnTo>
                    <a:pt x="8374" y="15500"/>
                  </a:lnTo>
                  <a:lnTo>
                    <a:pt x="7783" y="15624"/>
                  </a:lnTo>
                  <a:lnTo>
                    <a:pt x="7609" y="15133"/>
                  </a:lnTo>
                  <a:lnTo>
                    <a:pt x="7084" y="15175"/>
                  </a:lnTo>
                  <a:lnTo>
                    <a:pt x="7283" y="14463"/>
                  </a:lnTo>
                  <a:lnTo>
                    <a:pt x="7684" y="14295"/>
                  </a:lnTo>
                  <a:lnTo>
                    <a:pt x="8067" y="13793"/>
                  </a:lnTo>
                  <a:lnTo>
                    <a:pt x="8425" y="13260"/>
                  </a:lnTo>
                  <a:lnTo>
                    <a:pt x="8424" y="12101"/>
                  </a:lnTo>
                  <a:lnTo>
                    <a:pt x="7998" y="10796"/>
                  </a:lnTo>
                  <a:cubicBezTo>
                    <a:pt x="7914" y="10491"/>
                    <a:pt x="7805" y="10208"/>
                    <a:pt x="7672" y="9955"/>
                  </a:cubicBezTo>
                  <a:cubicBezTo>
                    <a:pt x="7487" y="9602"/>
                    <a:pt x="7262" y="9316"/>
                    <a:pt x="7013" y="9100"/>
                  </a:cubicBezTo>
                  <a:cubicBezTo>
                    <a:pt x="6627" y="8764"/>
                    <a:pt x="6195" y="8604"/>
                    <a:pt x="5760" y="8637"/>
                  </a:cubicBezTo>
                  <a:lnTo>
                    <a:pt x="5460" y="7993"/>
                  </a:lnTo>
                  <a:lnTo>
                    <a:pt x="4992" y="7628"/>
                  </a:lnTo>
                  <a:lnTo>
                    <a:pt x="4219" y="6874"/>
                  </a:lnTo>
                  <a:cubicBezTo>
                    <a:pt x="4009" y="6592"/>
                    <a:pt x="3763" y="6395"/>
                    <a:pt x="3501" y="6299"/>
                  </a:cubicBezTo>
                  <a:cubicBezTo>
                    <a:pt x="3254" y="6207"/>
                    <a:pt x="2997" y="6207"/>
                    <a:pt x="2750" y="6299"/>
                  </a:cubicBezTo>
                  <a:lnTo>
                    <a:pt x="2183" y="6425"/>
                  </a:lnTo>
                  <a:lnTo>
                    <a:pt x="1674" y="5792"/>
                  </a:lnTo>
                  <a:lnTo>
                    <a:pt x="1674" y="4994"/>
                  </a:lnTo>
                  <a:lnTo>
                    <a:pt x="2200" y="4420"/>
                  </a:lnTo>
                  <a:lnTo>
                    <a:pt x="2400" y="3664"/>
                  </a:lnTo>
                  <a:lnTo>
                    <a:pt x="2125" y="3120"/>
                  </a:lnTo>
                  <a:lnTo>
                    <a:pt x="1524" y="2615"/>
                  </a:lnTo>
                  <a:lnTo>
                    <a:pt x="566" y="2138"/>
                  </a:lnTo>
                  <a:lnTo>
                    <a:pt x="0" y="1619"/>
                  </a:lnTo>
                  <a:lnTo>
                    <a:pt x="54" y="1017"/>
                  </a:lnTo>
                  <a:lnTo>
                    <a:pt x="339" y="1069"/>
                  </a:lnTo>
                  <a:close/>
                </a:path>
              </a:pathLst>
            </a:custGeom>
            <a:grpFill/>
            <a:ln w="25400" cap="flat">
              <a:noFill/>
              <a:prstDash val="solid"/>
              <a:miter lim="400000"/>
            </a:ln>
            <a:effectLst/>
          </p:spPr>
          <p:txBody>
            <a:bodyPr anchor="ctr"/>
            <a:lstStyle/>
            <a:p>
              <a:pPr algn="ctr"/>
              <a:endParaRPr/>
            </a:p>
          </p:txBody>
        </p:sp>
        <p:sp>
          <p:nvSpPr>
            <p:cNvPr id="153" name="íṥ1îde">
              <a:extLst>
                <a:ext uri="{FF2B5EF4-FFF2-40B4-BE49-F238E27FC236}">
                  <a16:creationId xmlns:a16="http://schemas.microsoft.com/office/drawing/2014/main" id="{398A2AFE-37D8-49A4-B8AC-93A4A0487020}"/>
                </a:ext>
              </a:extLst>
            </p:cNvPr>
            <p:cNvSpPr/>
            <p:nvPr/>
          </p:nvSpPr>
          <p:spPr>
            <a:xfrm>
              <a:off x="10030474" y="3790111"/>
              <a:ext cx="18322" cy="22808"/>
            </a:xfrm>
            <a:custGeom>
              <a:avLst/>
              <a:gdLst/>
              <a:ahLst/>
              <a:cxnLst>
                <a:cxn ang="0">
                  <a:pos x="wd2" y="hd2"/>
                </a:cxn>
                <a:cxn ang="5400000">
                  <a:pos x="wd2" y="hd2"/>
                </a:cxn>
                <a:cxn ang="10800000">
                  <a:pos x="wd2" y="hd2"/>
                </a:cxn>
                <a:cxn ang="16200000">
                  <a:pos x="wd2" y="hd2"/>
                </a:cxn>
              </a:cxnLst>
              <a:rect l="0" t="0" r="r" b="b"/>
              <a:pathLst>
                <a:path w="21600" h="21600" extrusionOk="0">
                  <a:moveTo>
                    <a:pt x="11034" y="0"/>
                  </a:moveTo>
                  <a:lnTo>
                    <a:pt x="0" y="3883"/>
                  </a:lnTo>
                  <a:lnTo>
                    <a:pt x="4598" y="21600"/>
                  </a:lnTo>
                  <a:lnTo>
                    <a:pt x="21600" y="15889"/>
                  </a:lnTo>
                  <a:lnTo>
                    <a:pt x="21600" y="4677"/>
                  </a:lnTo>
                  <a:lnTo>
                    <a:pt x="11034" y="0"/>
                  </a:lnTo>
                  <a:close/>
                </a:path>
              </a:pathLst>
            </a:custGeom>
            <a:grpFill/>
            <a:ln w="25400" cap="flat">
              <a:noFill/>
              <a:prstDash val="solid"/>
              <a:miter lim="400000"/>
            </a:ln>
            <a:effectLst/>
          </p:spPr>
          <p:txBody>
            <a:bodyPr anchor="ctr"/>
            <a:lstStyle/>
            <a:p>
              <a:pPr algn="ctr"/>
              <a:endParaRPr/>
            </a:p>
          </p:txBody>
        </p:sp>
        <p:sp>
          <p:nvSpPr>
            <p:cNvPr id="154" name="iŝľïďé">
              <a:extLst>
                <a:ext uri="{FF2B5EF4-FFF2-40B4-BE49-F238E27FC236}">
                  <a16:creationId xmlns:a16="http://schemas.microsoft.com/office/drawing/2014/main" id="{A24483D0-039C-4FA1-BB44-5E529D83AF0D}"/>
                </a:ext>
              </a:extLst>
            </p:cNvPr>
            <p:cNvSpPr/>
            <p:nvPr/>
          </p:nvSpPr>
          <p:spPr>
            <a:xfrm>
              <a:off x="10351793" y="3476789"/>
              <a:ext cx="16360" cy="21873"/>
            </a:xfrm>
            <a:custGeom>
              <a:avLst/>
              <a:gdLst/>
              <a:ahLst/>
              <a:cxnLst>
                <a:cxn ang="0">
                  <a:pos x="wd2" y="hd2"/>
                </a:cxn>
                <a:cxn ang="5400000">
                  <a:pos x="wd2" y="hd2"/>
                </a:cxn>
                <a:cxn ang="10800000">
                  <a:pos x="wd2" y="hd2"/>
                </a:cxn>
                <a:cxn ang="16200000">
                  <a:pos x="wd2" y="hd2"/>
                </a:cxn>
              </a:cxnLst>
              <a:rect l="0" t="0" r="r" b="b"/>
              <a:pathLst>
                <a:path w="21600" h="21600" extrusionOk="0">
                  <a:moveTo>
                    <a:pt x="11547" y="0"/>
                  </a:moveTo>
                  <a:lnTo>
                    <a:pt x="2757" y="5238"/>
                  </a:lnTo>
                  <a:lnTo>
                    <a:pt x="0" y="18231"/>
                  </a:lnTo>
                  <a:lnTo>
                    <a:pt x="17487" y="21600"/>
                  </a:lnTo>
                  <a:lnTo>
                    <a:pt x="21600" y="12744"/>
                  </a:lnTo>
                  <a:lnTo>
                    <a:pt x="11547" y="0"/>
                  </a:lnTo>
                  <a:close/>
                </a:path>
              </a:pathLst>
            </a:custGeom>
            <a:grpFill/>
            <a:ln w="25400" cap="flat">
              <a:noFill/>
              <a:prstDash val="solid"/>
              <a:miter lim="400000"/>
            </a:ln>
            <a:effectLst/>
          </p:spPr>
          <p:txBody>
            <a:bodyPr anchor="ctr"/>
            <a:lstStyle/>
            <a:p>
              <a:pPr algn="ctr"/>
              <a:endParaRPr/>
            </a:p>
          </p:txBody>
        </p:sp>
        <p:sp>
          <p:nvSpPr>
            <p:cNvPr id="155" name="íŝḷiḑè">
              <a:extLst>
                <a:ext uri="{FF2B5EF4-FFF2-40B4-BE49-F238E27FC236}">
                  <a16:creationId xmlns:a16="http://schemas.microsoft.com/office/drawing/2014/main" id="{76889101-5126-4680-926E-B5E36AA201C9}"/>
                </a:ext>
              </a:extLst>
            </p:cNvPr>
            <p:cNvSpPr/>
            <p:nvPr/>
          </p:nvSpPr>
          <p:spPr>
            <a:xfrm>
              <a:off x="10325524" y="3553174"/>
              <a:ext cx="18349" cy="31158"/>
            </a:xfrm>
            <a:custGeom>
              <a:avLst/>
              <a:gdLst/>
              <a:ahLst/>
              <a:cxnLst>
                <a:cxn ang="0">
                  <a:pos x="wd2" y="hd2"/>
                </a:cxn>
                <a:cxn ang="5400000">
                  <a:pos x="wd2" y="hd2"/>
                </a:cxn>
                <a:cxn ang="10800000">
                  <a:pos x="wd2" y="hd2"/>
                </a:cxn>
                <a:cxn ang="16200000">
                  <a:pos x="wd2" y="hd2"/>
                </a:cxn>
              </a:cxnLst>
              <a:rect l="0" t="0" r="r" b="b"/>
              <a:pathLst>
                <a:path w="21600" h="21600" extrusionOk="0">
                  <a:moveTo>
                    <a:pt x="5652" y="0"/>
                  </a:moveTo>
                  <a:lnTo>
                    <a:pt x="0" y="4334"/>
                  </a:lnTo>
                  <a:lnTo>
                    <a:pt x="342" y="20725"/>
                  </a:lnTo>
                  <a:lnTo>
                    <a:pt x="18905" y="21600"/>
                  </a:lnTo>
                  <a:lnTo>
                    <a:pt x="21600" y="4465"/>
                  </a:lnTo>
                  <a:lnTo>
                    <a:pt x="5652" y="0"/>
                  </a:lnTo>
                  <a:close/>
                </a:path>
              </a:pathLst>
            </a:custGeom>
            <a:grpFill/>
            <a:ln w="25400" cap="flat">
              <a:noFill/>
              <a:prstDash val="solid"/>
              <a:miter lim="400000"/>
            </a:ln>
            <a:effectLst/>
          </p:spPr>
          <p:txBody>
            <a:bodyPr anchor="ctr"/>
            <a:lstStyle/>
            <a:p>
              <a:pPr algn="ctr"/>
              <a:endParaRPr/>
            </a:p>
          </p:txBody>
        </p:sp>
        <p:sp>
          <p:nvSpPr>
            <p:cNvPr id="156" name="ïśḻiďè">
              <a:extLst>
                <a:ext uri="{FF2B5EF4-FFF2-40B4-BE49-F238E27FC236}">
                  <a16:creationId xmlns:a16="http://schemas.microsoft.com/office/drawing/2014/main" id="{43A865D0-2ABA-42FB-9BBA-C464CA520317}"/>
                </a:ext>
              </a:extLst>
            </p:cNvPr>
            <p:cNvSpPr/>
            <p:nvPr/>
          </p:nvSpPr>
          <p:spPr>
            <a:xfrm>
              <a:off x="10830737" y="3809410"/>
              <a:ext cx="19066" cy="2893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7350"/>
                  </a:lnTo>
                  <a:lnTo>
                    <a:pt x="7288" y="21600"/>
                  </a:lnTo>
                  <a:lnTo>
                    <a:pt x="0" y="0"/>
                  </a:lnTo>
                  <a:close/>
                </a:path>
              </a:pathLst>
            </a:custGeom>
            <a:grpFill/>
            <a:ln w="25400" cap="flat">
              <a:noFill/>
              <a:prstDash val="solid"/>
              <a:miter lim="400000"/>
            </a:ln>
            <a:effectLst/>
          </p:spPr>
          <p:txBody>
            <a:bodyPr anchor="ctr"/>
            <a:lstStyle/>
            <a:p>
              <a:pPr algn="ctr"/>
              <a:endParaRPr/>
            </a:p>
          </p:txBody>
        </p:sp>
      </p:grpSp>
      <p:sp>
        <p:nvSpPr>
          <p:cNvPr id="20" name="标题 19"/>
          <p:cNvSpPr>
            <a:spLocks noGrp="1"/>
          </p:cNvSpPr>
          <p:nvPr userDrawn="1">
            <p:ph type="title"/>
          </p:nvPr>
        </p:nvSpPr>
        <p:spPr>
          <a:xfrm>
            <a:off x="6098599" y="2657929"/>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6099715" y="3553279"/>
            <a:ext cx="5419185" cy="1015623"/>
          </a:xfrm>
        </p:spPr>
        <p:txBody>
          <a:bodyPr anchor="t">
            <a:normAutofit/>
          </a:bodyPr>
          <a:lstStyle>
            <a:lvl1pPr marL="0" indent="0" algn="l">
              <a:lnSpc>
                <a:spcPct val="150000"/>
              </a:lnSpc>
              <a:spcBef>
                <a:spcPts val="0"/>
              </a:spcBef>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grpSp>
        <p:nvGrpSpPr>
          <p:cNvPr id="164" name="组合 163">
            <a:extLst>
              <a:ext uri="{FF2B5EF4-FFF2-40B4-BE49-F238E27FC236}">
                <a16:creationId xmlns:a16="http://schemas.microsoft.com/office/drawing/2014/main" id="{7F7A6B49-F4EF-49AD-B287-19DCC3450A41}"/>
              </a:ext>
            </a:extLst>
          </p:cNvPr>
          <p:cNvGrpSpPr/>
          <p:nvPr userDrawn="1"/>
        </p:nvGrpSpPr>
        <p:grpSpPr>
          <a:xfrm flipH="1">
            <a:off x="0" y="0"/>
            <a:ext cx="4509144" cy="6858000"/>
            <a:chOff x="5317129" y="0"/>
            <a:chExt cx="6874871" cy="6858000"/>
          </a:xfrm>
        </p:grpSpPr>
        <p:sp>
          <p:nvSpPr>
            <p:cNvPr id="165" name="iṩlïḑè">
              <a:extLst>
                <a:ext uri="{FF2B5EF4-FFF2-40B4-BE49-F238E27FC236}">
                  <a16:creationId xmlns:a16="http://schemas.microsoft.com/office/drawing/2014/main" id="{FFDA2B9E-7E1F-4840-B732-50A95B49B8F2}"/>
                </a:ext>
              </a:extLst>
            </p:cNvPr>
            <p:cNvSpPr/>
            <p:nvPr userDrawn="1"/>
          </p:nvSpPr>
          <p:spPr>
            <a:xfrm>
              <a:off x="7097453" y="0"/>
              <a:ext cx="5094547" cy="6858000"/>
            </a:xfrm>
            <a:custGeom>
              <a:avLst/>
              <a:gdLst>
                <a:gd name="connsiteX0" fmla="*/ 2401360 w 5094547"/>
                <a:gd name="connsiteY0" fmla="*/ 0 h 6858000"/>
                <a:gd name="connsiteX1" fmla="*/ 5094547 w 5094547"/>
                <a:gd name="connsiteY1" fmla="*/ 0 h 6858000"/>
                <a:gd name="connsiteX2" fmla="*/ 5094547 w 5094547"/>
                <a:gd name="connsiteY2" fmla="*/ 6858000 h 6858000"/>
                <a:gd name="connsiteX3" fmla="*/ 0 w 509454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094547" h="6858000">
                  <a:moveTo>
                    <a:pt x="2401360" y="0"/>
                  </a:moveTo>
                  <a:lnTo>
                    <a:pt x="5094547" y="0"/>
                  </a:lnTo>
                  <a:lnTo>
                    <a:pt x="5094547" y="6858000"/>
                  </a:lnTo>
                  <a:lnTo>
                    <a:pt x="0" y="6858000"/>
                  </a:lnTo>
                  <a:close/>
                </a:path>
              </a:pathLst>
            </a:custGeom>
            <a:blipFill>
              <a:blip r:embed="rId3"/>
              <a:stretch>
                <a:fillRect l="-39842" r="-3964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6" name="ïṧľîďé">
              <a:extLst>
                <a:ext uri="{FF2B5EF4-FFF2-40B4-BE49-F238E27FC236}">
                  <a16:creationId xmlns:a16="http://schemas.microsoft.com/office/drawing/2014/main" id="{5AA78695-4AAB-4791-AC6E-2E8DD33BF9D7}"/>
                </a:ext>
              </a:extLst>
            </p:cNvPr>
            <p:cNvSpPr/>
            <p:nvPr userDrawn="1"/>
          </p:nvSpPr>
          <p:spPr>
            <a:xfrm>
              <a:off x="7097453" y="0"/>
              <a:ext cx="5094547" cy="6858000"/>
            </a:xfrm>
            <a:custGeom>
              <a:avLst/>
              <a:gdLst>
                <a:gd name="connsiteX0" fmla="*/ 2401360 w 5094547"/>
                <a:gd name="connsiteY0" fmla="*/ 0 h 6858000"/>
                <a:gd name="connsiteX1" fmla="*/ 5094547 w 5094547"/>
                <a:gd name="connsiteY1" fmla="*/ 0 h 6858000"/>
                <a:gd name="connsiteX2" fmla="*/ 5094547 w 5094547"/>
                <a:gd name="connsiteY2" fmla="*/ 6858000 h 6858000"/>
                <a:gd name="connsiteX3" fmla="*/ 0 w 509454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094547" h="6858000">
                  <a:moveTo>
                    <a:pt x="2401360" y="0"/>
                  </a:moveTo>
                  <a:lnTo>
                    <a:pt x="5094547" y="0"/>
                  </a:lnTo>
                  <a:lnTo>
                    <a:pt x="5094547" y="6858000"/>
                  </a:lnTo>
                  <a:lnTo>
                    <a:pt x="0" y="6858000"/>
                  </a:lnTo>
                  <a:close/>
                </a:path>
              </a:pathLst>
            </a:custGeom>
            <a:solidFill>
              <a:schemeClr val="accent1">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7" name="îṡlíḑè">
              <a:extLst>
                <a:ext uri="{FF2B5EF4-FFF2-40B4-BE49-F238E27FC236}">
                  <a16:creationId xmlns:a16="http://schemas.microsoft.com/office/drawing/2014/main" id="{2523AC05-4DD2-4076-BD97-874CE03AF8EB}"/>
                </a:ext>
              </a:extLst>
            </p:cNvPr>
            <p:cNvSpPr/>
            <p:nvPr userDrawn="1"/>
          </p:nvSpPr>
          <p:spPr>
            <a:xfrm>
              <a:off x="6848035" y="0"/>
              <a:ext cx="2804986" cy="6858000"/>
            </a:xfrm>
            <a:custGeom>
              <a:avLst/>
              <a:gdLst>
                <a:gd name="connsiteX0" fmla="*/ 2480808 w 2804986"/>
                <a:gd name="connsiteY0" fmla="*/ 0 h 6858000"/>
                <a:gd name="connsiteX1" fmla="*/ 2804986 w 2804986"/>
                <a:gd name="connsiteY1" fmla="*/ 0 h 6858000"/>
                <a:gd name="connsiteX2" fmla="*/ 324177 w 2804986"/>
                <a:gd name="connsiteY2" fmla="*/ 6858000 h 6858000"/>
                <a:gd name="connsiteX3" fmla="*/ 0 w 280498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804986" h="6858000">
                  <a:moveTo>
                    <a:pt x="2480808" y="0"/>
                  </a:moveTo>
                  <a:lnTo>
                    <a:pt x="2804986" y="0"/>
                  </a:lnTo>
                  <a:lnTo>
                    <a:pt x="324177" y="6858000"/>
                  </a:lnTo>
                  <a:lnTo>
                    <a:pt x="0" y="6858000"/>
                  </a:lnTo>
                  <a:close/>
                </a:path>
              </a:pathLst>
            </a:cu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168" name="ïṣļíḋé">
              <a:extLst>
                <a:ext uri="{FF2B5EF4-FFF2-40B4-BE49-F238E27FC236}">
                  <a16:creationId xmlns:a16="http://schemas.microsoft.com/office/drawing/2014/main" id="{0F7DD772-2765-436B-91FF-B8FF582ECA8A}"/>
                </a:ext>
              </a:extLst>
            </p:cNvPr>
            <p:cNvSpPr/>
            <p:nvPr userDrawn="1"/>
          </p:nvSpPr>
          <p:spPr>
            <a:xfrm>
              <a:off x="6082582" y="0"/>
              <a:ext cx="2804986" cy="6858000"/>
            </a:xfrm>
            <a:custGeom>
              <a:avLst/>
              <a:gdLst>
                <a:gd name="connsiteX0" fmla="*/ 2480808 w 2804986"/>
                <a:gd name="connsiteY0" fmla="*/ 0 h 6858000"/>
                <a:gd name="connsiteX1" fmla="*/ 2804986 w 2804986"/>
                <a:gd name="connsiteY1" fmla="*/ 0 h 6858000"/>
                <a:gd name="connsiteX2" fmla="*/ 324177 w 2804986"/>
                <a:gd name="connsiteY2" fmla="*/ 6858000 h 6858000"/>
                <a:gd name="connsiteX3" fmla="*/ 0 w 280498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804986" h="6858000">
                  <a:moveTo>
                    <a:pt x="2480808" y="0"/>
                  </a:moveTo>
                  <a:lnTo>
                    <a:pt x="2804986" y="0"/>
                  </a:lnTo>
                  <a:lnTo>
                    <a:pt x="324177" y="6858000"/>
                  </a:lnTo>
                  <a:lnTo>
                    <a:pt x="0" y="6858000"/>
                  </a:lnTo>
                  <a:close/>
                </a:path>
              </a:pathLst>
            </a:cu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169" name="ïṣļiḓè">
              <a:extLst>
                <a:ext uri="{FF2B5EF4-FFF2-40B4-BE49-F238E27FC236}">
                  <a16:creationId xmlns:a16="http://schemas.microsoft.com/office/drawing/2014/main" id="{D03CB3A7-366A-42E8-96DD-22952ED4DA32}"/>
                </a:ext>
              </a:extLst>
            </p:cNvPr>
            <p:cNvSpPr/>
            <p:nvPr userDrawn="1"/>
          </p:nvSpPr>
          <p:spPr>
            <a:xfrm>
              <a:off x="5317129" y="0"/>
              <a:ext cx="2804986" cy="6858000"/>
            </a:xfrm>
            <a:custGeom>
              <a:avLst/>
              <a:gdLst>
                <a:gd name="connsiteX0" fmla="*/ 2480808 w 2804986"/>
                <a:gd name="connsiteY0" fmla="*/ 0 h 6858000"/>
                <a:gd name="connsiteX1" fmla="*/ 2804986 w 2804986"/>
                <a:gd name="connsiteY1" fmla="*/ 0 h 6858000"/>
                <a:gd name="connsiteX2" fmla="*/ 324177 w 2804986"/>
                <a:gd name="connsiteY2" fmla="*/ 6858000 h 6858000"/>
                <a:gd name="connsiteX3" fmla="*/ 0 w 280498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804986" h="6858000">
                  <a:moveTo>
                    <a:pt x="2480808" y="0"/>
                  </a:moveTo>
                  <a:lnTo>
                    <a:pt x="2804986" y="0"/>
                  </a:lnTo>
                  <a:lnTo>
                    <a:pt x="324177" y="6858000"/>
                  </a:lnTo>
                  <a:lnTo>
                    <a:pt x="0" y="6858000"/>
                  </a:lnTo>
                  <a:close/>
                </a:path>
              </a:pathLst>
            </a:cu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170" name="íṩļïḑé">
              <a:extLst>
                <a:ext uri="{FF2B5EF4-FFF2-40B4-BE49-F238E27FC236}">
                  <a16:creationId xmlns:a16="http://schemas.microsoft.com/office/drawing/2014/main" id="{384CC984-D7A4-4D39-8637-68BE63FA49E1}"/>
                </a:ext>
              </a:extLst>
            </p:cNvPr>
            <p:cNvSpPr/>
            <p:nvPr userDrawn="1"/>
          </p:nvSpPr>
          <p:spPr>
            <a:xfrm>
              <a:off x="8544340" y="1944914"/>
              <a:ext cx="686455" cy="1001486"/>
            </a:xfrm>
            <a:custGeom>
              <a:avLst/>
              <a:gdLst>
                <a:gd name="connsiteX0" fmla="*/ 362277 w 686455"/>
                <a:gd name="connsiteY0" fmla="*/ 0 h 1001486"/>
                <a:gd name="connsiteX1" fmla="*/ 686455 w 686455"/>
                <a:gd name="connsiteY1" fmla="*/ 0 h 1001486"/>
                <a:gd name="connsiteX2" fmla="*/ 324178 w 686455"/>
                <a:gd name="connsiteY2" fmla="*/ 1001486 h 1001486"/>
                <a:gd name="connsiteX3" fmla="*/ 0 w 686455"/>
                <a:gd name="connsiteY3" fmla="*/ 1001486 h 1001486"/>
              </a:gdLst>
              <a:ahLst/>
              <a:cxnLst>
                <a:cxn ang="0">
                  <a:pos x="connsiteX0" y="connsiteY0"/>
                </a:cxn>
                <a:cxn ang="0">
                  <a:pos x="connsiteX1" y="connsiteY1"/>
                </a:cxn>
                <a:cxn ang="0">
                  <a:pos x="connsiteX2" y="connsiteY2"/>
                </a:cxn>
                <a:cxn ang="0">
                  <a:pos x="connsiteX3" y="connsiteY3"/>
                </a:cxn>
              </a:cxnLst>
              <a:rect l="l" t="t" r="r" b="b"/>
              <a:pathLst>
                <a:path w="686455" h="1001486">
                  <a:moveTo>
                    <a:pt x="362277" y="0"/>
                  </a:moveTo>
                  <a:lnTo>
                    <a:pt x="686455" y="0"/>
                  </a:lnTo>
                  <a:lnTo>
                    <a:pt x="324178" y="1001486"/>
                  </a:lnTo>
                  <a:lnTo>
                    <a:pt x="0" y="1001486"/>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1" name="ïś1iďe">
              <a:extLst>
                <a:ext uri="{FF2B5EF4-FFF2-40B4-BE49-F238E27FC236}">
                  <a16:creationId xmlns:a16="http://schemas.microsoft.com/office/drawing/2014/main" id="{EB03D3C9-9D10-4622-A0A2-4F1EC48E9AAD}"/>
                </a:ext>
              </a:extLst>
            </p:cNvPr>
            <p:cNvSpPr/>
            <p:nvPr userDrawn="1"/>
          </p:nvSpPr>
          <p:spPr>
            <a:xfrm>
              <a:off x="6178639" y="3962399"/>
              <a:ext cx="686455" cy="1001486"/>
            </a:xfrm>
            <a:custGeom>
              <a:avLst/>
              <a:gdLst>
                <a:gd name="connsiteX0" fmla="*/ 362277 w 686455"/>
                <a:gd name="connsiteY0" fmla="*/ 0 h 1001486"/>
                <a:gd name="connsiteX1" fmla="*/ 686455 w 686455"/>
                <a:gd name="connsiteY1" fmla="*/ 0 h 1001486"/>
                <a:gd name="connsiteX2" fmla="*/ 324178 w 686455"/>
                <a:gd name="connsiteY2" fmla="*/ 1001486 h 1001486"/>
                <a:gd name="connsiteX3" fmla="*/ 0 w 686455"/>
                <a:gd name="connsiteY3" fmla="*/ 1001486 h 1001486"/>
              </a:gdLst>
              <a:ahLst/>
              <a:cxnLst>
                <a:cxn ang="0">
                  <a:pos x="connsiteX0" y="connsiteY0"/>
                </a:cxn>
                <a:cxn ang="0">
                  <a:pos x="connsiteX1" y="connsiteY1"/>
                </a:cxn>
                <a:cxn ang="0">
                  <a:pos x="connsiteX2" y="connsiteY2"/>
                </a:cxn>
                <a:cxn ang="0">
                  <a:pos x="connsiteX3" y="connsiteY3"/>
                </a:cxn>
              </a:cxnLst>
              <a:rect l="l" t="t" r="r" b="b"/>
              <a:pathLst>
                <a:path w="686455" h="1001486">
                  <a:moveTo>
                    <a:pt x="362277" y="0"/>
                  </a:moveTo>
                  <a:lnTo>
                    <a:pt x="686455" y="0"/>
                  </a:lnTo>
                  <a:lnTo>
                    <a:pt x="324178" y="1001486"/>
                  </a:lnTo>
                  <a:lnTo>
                    <a:pt x="0" y="1001486"/>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fld id="{6489D9C7-5DC6-4263-87FF-7C99F6FB63C3}" type="datetime1">
              <a:rPr lang="zh-CN" altLang="en-US" smtClean="0"/>
              <a:pPr/>
              <a:t>2021/11/1</a:t>
            </a:fld>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en-US" altLang="zh-CN"/>
              <a:t>www.islide.cc</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fld id="{6489D9C7-5DC6-4263-87FF-7C99F6FB63C3}" type="datetime1">
              <a:rPr lang="zh-CN" altLang="en-US" smtClean="0"/>
              <a:pPr/>
              <a:t>2021/11/1</a:t>
            </a:fld>
            <a:endParaRPr lang="zh-CN" altLang="en-US"/>
          </a:p>
        </p:txBody>
      </p:sp>
      <p:sp>
        <p:nvSpPr>
          <p:cNvPr id="4" name="页脚占位符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en-US" altLang="zh-CN"/>
              <a:t>www.islide.cc</a:t>
            </a:r>
            <a:endParaRPr lang="zh-CN" altLang="en-US" dirty="0"/>
          </a:p>
        </p:txBody>
      </p:sp>
      <p:sp>
        <p:nvSpPr>
          <p:cNvPr id="5" name="灯片编号占位符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16" name="í$ľiḋe">
            <a:extLst>
              <a:ext uri="{FF2B5EF4-FFF2-40B4-BE49-F238E27FC236}">
                <a16:creationId xmlns:a16="http://schemas.microsoft.com/office/drawing/2014/main" id="{95F0ECDF-C88B-4D19-AE25-E5B247F74D99}"/>
              </a:ext>
            </a:extLst>
          </p:cNvPr>
          <p:cNvSpPr/>
          <p:nvPr userDrawn="1"/>
        </p:nvSpPr>
        <p:spPr>
          <a:xfrm>
            <a:off x="1" y="0"/>
            <a:ext cx="12192000" cy="6858000"/>
          </a:xfrm>
          <a:prstGeom prst="rect">
            <a:avLst/>
          </a:prstGeom>
          <a:blipFill>
            <a:blip r:embed="rId2"/>
            <a:srcRect/>
            <a:stretch>
              <a:fillRect t="-16666" b="-16666"/>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iśľîḍê">
            <a:extLst>
              <a:ext uri="{FF2B5EF4-FFF2-40B4-BE49-F238E27FC236}">
                <a16:creationId xmlns:a16="http://schemas.microsoft.com/office/drawing/2014/main" id="{FD47779C-4100-4062-915A-658989B23EBD}"/>
              </a:ext>
            </a:extLst>
          </p:cNvPr>
          <p:cNvSpPr/>
          <p:nvPr userDrawn="1"/>
        </p:nvSpPr>
        <p:spPr>
          <a:xfrm>
            <a:off x="0" y="0"/>
            <a:ext cx="12192000" cy="6858000"/>
          </a:xfrm>
          <a:prstGeom prst="rect">
            <a:avLst/>
          </a:prstGeom>
          <a:solidFill>
            <a:schemeClr val="accent1">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标题 12"/>
          <p:cNvSpPr>
            <a:spLocks noGrp="1"/>
          </p:cNvSpPr>
          <p:nvPr userDrawn="1">
            <p:ph type="ctrTitle" hasCustomPrompt="1"/>
          </p:nvPr>
        </p:nvSpPr>
        <p:spPr>
          <a:xfrm>
            <a:off x="3384551" y="2367819"/>
            <a:ext cx="5422898" cy="1621509"/>
          </a:xfrm>
        </p:spPr>
        <p:txBody>
          <a:bodyPr anchor="b">
            <a:normAutofit/>
          </a:bodyPr>
          <a:lstStyle>
            <a:lvl1pPr marL="0" indent="0" algn="ctr">
              <a:buFont typeface="Arial" panose="020B0604020202020204" pitchFamily="34" charset="0"/>
              <a:buNone/>
              <a:defRPr sz="3200">
                <a:solidFill>
                  <a:schemeClr val="bg1"/>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3384551" y="4786452"/>
            <a:ext cx="5422898" cy="310871"/>
          </a:xfrm>
        </p:spPr>
        <p:txBody>
          <a:bodyPr vert="horz" lIns="91440" tIns="45720" rIns="91440" bIns="45720" rtlCol="0">
            <a:normAutofit/>
          </a:bodyPr>
          <a:lstStyle>
            <a:lvl1pPr marL="0" indent="0" algn="ctr">
              <a:buNone/>
              <a:defRPr lang="zh-CN" altLang="en-US" sz="14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3384551" y="4490181"/>
            <a:ext cx="5422898"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pPr/>
              <a:t>2021/11/1</a:t>
            </a:fld>
            <a:endParaRPr lang="zh-CN" altLang="en-US"/>
          </a:p>
        </p:txBody>
      </p:sp>
      <p:sp>
        <p:nvSpPr>
          <p:cNvPr id="9" name="页脚占位符 8">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9">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themeOverride" Target="../theme/themeOverride1.xml"/><Relationship Id="rId5" Type="http://schemas.openxmlformats.org/officeDocument/2006/relationships/image" Target="../media/image2.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1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13.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4.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5.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6.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7.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8.xml"/></Relationships>
</file>

<file path=ppt/slides/_rels/slide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4.xml"/><Relationship Id="rId1" Type="http://schemas.openxmlformats.org/officeDocument/2006/relationships/tags" Target="../tags/tag19.xml"/></Relationships>
</file>

<file path=ppt/slides/_rels/slide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4.xml"/><Relationship Id="rId1" Type="http://schemas.openxmlformats.org/officeDocument/2006/relationships/tags" Target="../tags/tag20.xml"/></Relationships>
</file>

<file path=ppt/slides/_rels/slide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4.xml"/><Relationship Id="rId1" Type="http://schemas.openxmlformats.org/officeDocument/2006/relationships/tags" Target="../tags/tag2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xml"/><Relationship Id="rId1" Type="http://schemas.openxmlformats.org/officeDocument/2006/relationships/themeOverride" Target="../theme/themeOverride2.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23.xml"/><Relationship Id="rId4" Type="http://schemas.openxmlformats.org/officeDocument/2006/relationships/image" Target="../media/image6.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24.xml"/><Relationship Id="rId4" Type="http://schemas.openxmlformats.org/officeDocument/2006/relationships/image" Target="../media/image7.jpe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25.xml"/><Relationship Id="rId5" Type="http://schemas.openxmlformats.org/officeDocument/2006/relationships/image" Target="../media/image8.png"/><Relationship Id="rId4" Type="http://schemas.openxmlformats.org/officeDocument/2006/relationships/image" Target="../media/image6.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26.xml"/><Relationship Id="rId5" Type="http://schemas.openxmlformats.org/officeDocument/2006/relationships/image" Target="../media/image8.png"/><Relationship Id="rId4" Type="http://schemas.openxmlformats.org/officeDocument/2006/relationships/image" Target="../media/image6.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27.xml"/><Relationship Id="rId5" Type="http://schemas.openxmlformats.org/officeDocument/2006/relationships/image" Target="../media/image9.png"/><Relationship Id="rId4" Type="http://schemas.openxmlformats.org/officeDocument/2006/relationships/image" Target="../media/image6.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28.xml"/><Relationship Id="rId5" Type="http://schemas.openxmlformats.org/officeDocument/2006/relationships/image" Target="../media/image10.png"/><Relationship Id="rId4" Type="http://schemas.openxmlformats.org/officeDocument/2006/relationships/image" Target="../media/image6.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29.xml"/><Relationship Id="rId5" Type="http://schemas.openxmlformats.org/officeDocument/2006/relationships/image" Target="../media/image9.png"/><Relationship Id="rId4" Type="http://schemas.openxmlformats.org/officeDocument/2006/relationships/image" Target="../media/image6.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30.xml"/><Relationship Id="rId4" Type="http://schemas.openxmlformats.org/officeDocument/2006/relationships/image" Target="../media/image11.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31.xml"/><Relationship Id="rId4" Type="http://schemas.openxmlformats.org/officeDocument/2006/relationships/image" Target="../media/image11.png"/></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5.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32.xml"/><Relationship Id="rId4" Type="http://schemas.openxmlformats.org/officeDocument/2006/relationships/image" Target="../media/image11.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33.xml"/><Relationship Id="rId4" Type="http://schemas.openxmlformats.org/officeDocument/2006/relationships/image" Target="../media/image12.jpe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34.xml"/><Relationship Id="rId4" Type="http://schemas.openxmlformats.org/officeDocument/2006/relationships/image" Target="../media/image13.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35.xml"/><Relationship Id="rId4" Type="http://schemas.openxmlformats.org/officeDocument/2006/relationships/image" Target="../media/image14.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36.xml"/><Relationship Id="rId4" Type="http://schemas.openxmlformats.org/officeDocument/2006/relationships/image" Target="../media/image14.png"/></Relationships>
</file>

<file path=ppt/slides/_rels/slide3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7.xml"/></Relationships>
</file>

<file path=ppt/slides/_rels/slide36.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png"/><Relationship Id="rId2" Type="http://schemas.openxmlformats.org/officeDocument/2006/relationships/image" Target="../media/image15.png"/><Relationship Id="rId16" Type="http://schemas.openxmlformats.org/officeDocument/2006/relationships/image" Target="../media/image29.png"/><Relationship Id="rId1" Type="http://schemas.openxmlformats.org/officeDocument/2006/relationships/slideLayout" Target="../slideLayouts/slideLayout4.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8.pn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27.png"/></Relationships>
</file>

<file path=ppt/slides/_rels/slide3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image" Target="../media/image30.png"/><Relationship Id="rId1" Type="http://schemas.openxmlformats.org/officeDocument/2006/relationships/slideLayout" Target="../slideLayouts/slideLayout4.xml"/><Relationship Id="rId6" Type="http://schemas.openxmlformats.org/officeDocument/2006/relationships/image" Target="../media/image34.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s/_rels/slide3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4.xml"/><Relationship Id="rId5" Type="http://schemas.openxmlformats.org/officeDocument/2006/relationships/image" Target="../media/image42.png"/><Relationship Id="rId4" Type="http://schemas.openxmlformats.org/officeDocument/2006/relationships/image" Target="../media/image41.png"/></Relationships>
</file>

<file path=ppt/slides/_rels/slide3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6.xml"/></Relationships>
</file>

<file path=ppt/slides/_rels/slide40.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22.xml"/><Relationship Id="rId1" Type="http://schemas.openxmlformats.org/officeDocument/2006/relationships/slideLayout" Target="../slideLayouts/slideLayout4.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41.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23.xml"/><Relationship Id="rId1" Type="http://schemas.openxmlformats.org/officeDocument/2006/relationships/slideLayout" Target="../slideLayouts/slideLayout4.xml"/><Relationship Id="rId6" Type="http://schemas.openxmlformats.org/officeDocument/2006/relationships/image" Target="../media/image52.png"/><Relationship Id="rId5" Type="http://schemas.openxmlformats.org/officeDocument/2006/relationships/image" Target="../media/image51.png"/><Relationship Id="rId10" Type="http://schemas.openxmlformats.org/officeDocument/2006/relationships/image" Target="../media/image56.png"/><Relationship Id="rId4" Type="http://schemas.openxmlformats.org/officeDocument/2006/relationships/image" Target="../media/image50.png"/><Relationship Id="rId9" Type="http://schemas.openxmlformats.org/officeDocument/2006/relationships/image" Target="../media/image55.png"/></Relationships>
</file>

<file path=ppt/slides/_rels/slide42.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notesSlide" Target="../notesSlides/notesSlide24.xml"/><Relationship Id="rId1" Type="http://schemas.openxmlformats.org/officeDocument/2006/relationships/slideLayout" Target="../slideLayouts/slideLayout4.xml"/><Relationship Id="rId6" Type="http://schemas.openxmlformats.org/officeDocument/2006/relationships/image" Target="../media/image60.png"/><Relationship Id="rId11" Type="http://schemas.openxmlformats.org/officeDocument/2006/relationships/image" Target="../media/image65.png"/><Relationship Id="rId5" Type="http://schemas.openxmlformats.org/officeDocument/2006/relationships/image" Target="../media/image59.png"/><Relationship Id="rId10" Type="http://schemas.openxmlformats.org/officeDocument/2006/relationships/image" Target="../media/image64.png"/><Relationship Id="rId4" Type="http://schemas.openxmlformats.org/officeDocument/2006/relationships/image" Target="../media/image58.png"/><Relationship Id="rId9" Type="http://schemas.openxmlformats.org/officeDocument/2006/relationships/image" Target="../media/image63.png"/></Relationships>
</file>

<file path=ppt/slides/_rels/slide4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5.xml"/><Relationship Id="rId1" Type="http://schemas.openxmlformats.org/officeDocument/2006/relationships/slideLayout" Target="../slideLayouts/slideLayout4.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s/_rels/slide44.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70.png"/><Relationship Id="rId7" Type="http://schemas.openxmlformats.org/officeDocument/2006/relationships/image" Target="../media/image74.png"/><Relationship Id="rId2" Type="http://schemas.openxmlformats.org/officeDocument/2006/relationships/notesSlide" Target="../notesSlides/notesSlide26.xml"/><Relationship Id="rId1" Type="http://schemas.openxmlformats.org/officeDocument/2006/relationships/slideLayout" Target="../slideLayouts/slideLayout4.xml"/><Relationship Id="rId6" Type="http://schemas.openxmlformats.org/officeDocument/2006/relationships/image" Target="../media/image73.png"/><Relationship Id="rId5" Type="http://schemas.openxmlformats.org/officeDocument/2006/relationships/image" Target="../media/image72.png"/><Relationship Id="rId10" Type="http://schemas.openxmlformats.org/officeDocument/2006/relationships/image" Target="../media/image76.png"/><Relationship Id="rId4" Type="http://schemas.openxmlformats.org/officeDocument/2006/relationships/image" Target="../media/image71.png"/><Relationship Id="rId9" Type="http://schemas.openxmlformats.org/officeDocument/2006/relationships/image" Target="../media/image75.png"/></Relationships>
</file>

<file path=ppt/slides/_rels/slide4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8.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9.xml"/><Relationship Id="rId1" Type="http://schemas.openxmlformats.org/officeDocument/2006/relationships/themeOverride" Target="../theme/themeOverride3.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notesSlide" Target="../notesSlides/notesSlide28.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7.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8.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9.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10.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îSḷíḑe"/>
        <p:cNvGrpSpPr/>
        <p:nvPr/>
      </p:nvGrpSpPr>
      <p:grpSpPr>
        <a:xfrm>
          <a:off x="0" y="0"/>
          <a:ext cx="0" cy="0"/>
          <a:chOff x="0" y="0"/>
          <a:chExt cx="0" cy="0"/>
        </a:xfrm>
      </p:grpSpPr>
      <p:graphicFrame>
        <p:nvGraphicFramePr>
          <p:cNvPr id="3" name="íṩ1ídè" hidden="1">
            <a:extLst>
              <a:ext uri="{FF2B5EF4-FFF2-40B4-BE49-F238E27FC236}">
                <a16:creationId xmlns:a16="http://schemas.microsoft.com/office/drawing/2014/main"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íṩ1ídè" hidden="1">
                        <a:extLst>
                          <a:ext uri="{FF2B5EF4-FFF2-40B4-BE49-F238E27FC236}">
                            <a16:creationId xmlns:a16="http://schemas.microsoft.com/office/drawing/2014/main" id="{3C326D0B-7DAB-41B6-8030-2E4A18CC9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ísľiďè" hidden="1">
            <a:extLst>
              <a:ext uri="{FF2B5EF4-FFF2-40B4-BE49-F238E27FC236}">
                <a16:creationId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ïṥḻîdè"/>
          <p:cNvSpPr>
            <a:spLocks noGrp="1"/>
          </p:cNvSpPr>
          <p:nvPr>
            <p:ph type="subTitle" idx="1"/>
          </p:nvPr>
        </p:nvSpPr>
        <p:spPr/>
        <p:txBody>
          <a:bodyPr/>
          <a:lstStyle/>
          <a:p>
            <a:pPr algn="ctr"/>
            <a:r>
              <a:rPr lang="en-US" altLang="zh-CN" dirty="0"/>
              <a:t>2021-08-30</a:t>
            </a:r>
          </a:p>
        </p:txBody>
      </p:sp>
      <p:sp>
        <p:nvSpPr>
          <p:cNvPr id="4" name="i$ḻïḑe"/>
          <p:cNvSpPr>
            <a:spLocks noGrp="1"/>
          </p:cNvSpPr>
          <p:nvPr>
            <p:ph type="ctrTitle"/>
          </p:nvPr>
        </p:nvSpPr>
        <p:spPr/>
        <p:txBody>
          <a:bodyPr>
            <a:normAutofit/>
          </a:bodyPr>
          <a:lstStyle/>
          <a:p>
            <a:pPr lvl="0">
              <a:defRPr/>
            </a:pPr>
            <a:r>
              <a:rPr lang="zh-CN" altLang="en-US" sz="5400" dirty="0"/>
              <a:t>量子计算理论</a:t>
            </a:r>
            <a:endParaRPr lang="zh-CN" altLang="en-US" dirty="0">
              <a:latin typeface="Arial"/>
            </a:endParaRPr>
          </a:p>
        </p:txBody>
      </p:sp>
      <p:sp>
        <p:nvSpPr>
          <p:cNvPr id="6" name="isḷiḑé"/>
          <p:cNvSpPr>
            <a:spLocks noGrp="1"/>
          </p:cNvSpPr>
          <p:nvPr>
            <p:ph type="body" sz="quarter" idx="10"/>
          </p:nvPr>
        </p:nvSpPr>
        <p:spPr/>
        <p:txBody>
          <a:bodyPr/>
          <a:lstStyle/>
          <a:p>
            <a:r>
              <a:rPr lang="en-US" altLang="zh-CN" dirty="0"/>
              <a:t>USTB_WJW</a:t>
            </a:r>
          </a:p>
        </p:txBody>
      </p:sp>
      <p:sp>
        <p:nvSpPr>
          <p:cNvPr id="8" name="文本占位符 7"/>
          <p:cNvSpPr>
            <a:spLocks noGrp="1"/>
          </p:cNvSpPr>
          <p:nvPr>
            <p:ph type="body" sz="quarter" idx="11"/>
          </p:nvPr>
        </p:nvSpPr>
        <p:spPr/>
        <p:txBody>
          <a:bodyPr/>
          <a:lstStyle/>
          <a:p>
            <a:r>
              <a:rPr lang="en-US" altLang="zh-CN" dirty="0"/>
              <a:t>2021/08/30</a:t>
            </a:r>
            <a:endParaRPr lang="zh-CN" altLang="en-US" dirty="0"/>
          </a:p>
        </p:txBody>
      </p:sp>
    </p:spTree>
    <p:custDataLst>
      <p:tags r:id="rId2"/>
    </p:custDataLst>
    <p:extLst>
      <p:ext uri="{BB962C8B-B14F-4D97-AF65-F5344CB8AC3E}">
        <p14:creationId xmlns:p14="http://schemas.microsoft.com/office/powerpoint/2010/main" val="2271741893"/>
      </p:ext>
    </p:extLst>
  </p:cSld>
  <p:clrMapOvr>
    <a:masterClrMapping/>
  </p:clrMapOvr>
  <mc:AlternateContent xmlns:mc="http://schemas.openxmlformats.org/markup-compatibility/2006">
    <mc:Choice xmlns:p14="http://schemas.microsoft.com/office/powerpoint/2010/main" Requires="p14">
      <p:transition spd="slow" p14:dur="999"/>
    </mc:Choice>
    <mc:Fallback>
      <p:transition spd="slow"/>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2" name="íṣľiḑe">
            <a:extLst>
              <a:ext uri="{FF2B5EF4-FFF2-40B4-BE49-F238E27FC236}">
                <a16:creationId xmlns:a16="http://schemas.microsoft.com/office/drawing/2014/main" id="{8AC4395B-A0A0-4D81-B628-E4F9AB374736}"/>
              </a:ext>
            </a:extLst>
          </p:cNvPr>
          <p:cNvSpPr>
            <a:spLocks noGrp="1"/>
          </p:cNvSpPr>
          <p:nvPr>
            <p:ph type="title"/>
          </p:nvPr>
        </p:nvSpPr>
        <p:spPr/>
        <p:txBody>
          <a:bodyPr>
            <a:normAutofit/>
          </a:bodyPr>
          <a:lstStyle/>
          <a:p>
            <a:pPr lvl="0"/>
            <a:r>
              <a:rPr lang="zh-CN" altLang="en-US" dirty="0"/>
              <a:t>量子纠缠</a:t>
            </a:r>
          </a:p>
        </p:txBody>
      </p:sp>
      <p:sp>
        <p:nvSpPr>
          <p:cNvPr id="4" name="ïṩḷidê">
            <a:extLst>
              <a:ext uri="{FF2B5EF4-FFF2-40B4-BE49-F238E27FC236}">
                <a16:creationId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10</a:t>
            </a:fld>
            <a:endParaRPr lang="zh-CN" altLang="en-US"/>
          </a:p>
        </p:txBody>
      </p:sp>
      <p:sp>
        <p:nvSpPr>
          <p:cNvPr id="5" name="矩形 4"/>
          <p:cNvSpPr/>
          <p:nvPr/>
        </p:nvSpPr>
        <p:spPr>
          <a:xfrm>
            <a:off x="669925" y="1859340"/>
            <a:ext cx="10850562" cy="2862322"/>
          </a:xfrm>
          <a:prstGeom prst="rect">
            <a:avLst/>
          </a:prstGeom>
        </p:spPr>
        <p:txBody>
          <a:bodyPr wrap="square">
            <a:spAutoFit/>
          </a:bodyPr>
          <a:lstStyle/>
          <a:p>
            <a:r>
              <a:rPr lang="zh-CN" altLang="en-US" dirty="0">
                <a:solidFill>
                  <a:srgbClr val="171717"/>
                </a:solidFill>
                <a:latin typeface="Segoe UI" panose="020B0502040204020203" pitchFamily="34" charset="0"/>
              </a:rPr>
              <a:t>量子力学中最有趣的现象可能是两个或多个量子粒子彼此纠缠。 当粒子纠缠在一起时，它们会形成单个系统，因此不能独立于其他粒子的量子状态来描述任何一个粒子的量子状态。 这意味着，对一个粒子应用的任何操作或过程也会与其他粒子相关</a:t>
            </a:r>
            <a:endParaRPr lang="en-US" altLang="zh-CN" dirty="0">
              <a:solidFill>
                <a:srgbClr val="171717"/>
              </a:solidFill>
              <a:latin typeface="Segoe UI" panose="020B0502040204020203" pitchFamily="34" charset="0"/>
            </a:endParaRPr>
          </a:p>
          <a:p>
            <a:endParaRPr lang="zh-CN" altLang="en-US" dirty="0">
              <a:solidFill>
                <a:srgbClr val="171717"/>
              </a:solidFill>
              <a:latin typeface="Segoe UI" panose="020B0502040204020203" pitchFamily="34" charset="0"/>
            </a:endParaRPr>
          </a:p>
          <a:p>
            <a:r>
              <a:rPr lang="zh-CN" altLang="en-US" dirty="0">
                <a:solidFill>
                  <a:srgbClr val="171717"/>
                </a:solidFill>
                <a:latin typeface="Segoe UI" panose="020B0502040204020203" pitchFamily="34" charset="0"/>
              </a:rPr>
              <a:t>除了这种相互依赖性，粒子甚至还可以在相距甚远的距离（甚至是光年）也可以保持这种连接。 </a:t>
            </a:r>
            <a:r>
              <a:rPr lang="zh-CN" altLang="en-US" dirty="0">
                <a:solidFill>
                  <a:srgbClr val="FF0000"/>
                </a:solidFill>
                <a:latin typeface="Segoe UI" panose="020B0502040204020203" pitchFamily="34" charset="0"/>
              </a:rPr>
              <a:t>量子测量的效果也适用于纠缠的粒子</a:t>
            </a:r>
            <a:r>
              <a:rPr lang="zh-CN" altLang="en-US" dirty="0">
                <a:solidFill>
                  <a:srgbClr val="171717"/>
                </a:solidFill>
                <a:latin typeface="Segoe UI" panose="020B0502040204020203" pitchFamily="34" charset="0"/>
              </a:rPr>
              <a:t>，因此当一个粒子经过测量和坍缩后，其他粒子也将坍缩。 由于纠缠的量子比特之间存在相干性，因此测量一个量子比特的状态可以提供有关其他量子比特的状态的信息，这种特殊的属性在量子计算中非常有用</a:t>
            </a:r>
            <a:endParaRPr lang="en-US" altLang="zh-CN" dirty="0">
              <a:solidFill>
                <a:srgbClr val="171717"/>
              </a:solidFill>
              <a:latin typeface="Segoe UI" panose="020B0502040204020203" pitchFamily="34" charset="0"/>
            </a:endParaRPr>
          </a:p>
          <a:p>
            <a:endParaRPr lang="en-US" altLang="zh-CN" b="0" i="0" dirty="0">
              <a:solidFill>
                <a:srgbClr val="171717"/>
              </a:solidFill>
              <a:effectLst/>
              <a:latin typeface="Segoe UI" panose="020B0502040204020203" pitchFamily="34" charset="0"/>
            </a:endParaRPr>
          </a:p>
          <a:p>
            <a:r>
              <a:rPr lang="zh-CN" altLang="en-US" dirty="0">
                <a:solidFill>
                  <a:srgbClr val="FF0000"/>
                </a:solidFill>
              </a:rPr>
              <a:t>超弦理论：弦论把量子纠缠解释为粒子在高维空间（只存在于普朗克尺度之下）中的三维投影</a:t>
            </a:r>
            <a:endParaRPr lang="zh-CN" altLang="en-US" b="0" i="0" dirty="0">
              <a:solidFill>
                <a:srgbClr val="FF0000"/>
              </a:solidFill>
              <a:effectLst/>
              <a:latin typeface="Segoe UI" panose="020B0502040204020203" pitchFamily="34" charset="0"/>
            </a:endParaRPr>
          </a:p>
        </p:txBody>
      </p:sp>
    </p:spTree>
    <p:custDataLst>
      <p:tags r:id="rId1"/>
    </p:custDataLst>
    <p:extLst>
      <p:ext uri="{BB962C8B-B14F-4D97-AF65-F5344CB8AC3E}">
        <p14:creationId xmlns:p14="http://schemas.microsoft.com/office/powerpoint/2010/main" val="34919313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2" name="íṣľiḑe">
            <a:extLst>
              <a:ext uri="{FF2B5EF4-FFF2-40B4-BE49-F238E27FC236}">
                <a16:creationId xmlns:a16="http://schemas.microsoft.com/office/drawing/2014/main" id="{8AC4395B-A0A0-4D81-B628-E4F9AB374736}"/>
              </a:ext>
            </a:extLst>
          </p:cNvPr>
          <p:cNvSpPr>
            <a:spLocks noGrp="1"/>
          </p:cNvSpPr>
          <p:nvPr>
            <p:ph type="title"/>
          </p:nvPr>
        </p:nvSpPr>
        <p:spPr/>
        <p:txBody>
          <a:bodyPr>
            <a:normAutofit/>
          </a:bodyPr>
          <a:lstStyle/>
          <a:p>
            <a:pPr lvl="0"/>
            <a:r>
              <a:rPr lang="zh-CN" altLang="en-US" dirty="0"/>
              <a:t>量子纠缠</a:t>
            </a:r>
          </a:p>
        </p:txBody>
      </p:sp>
      <p:sp>
        <p:nvSpPr>
          <p:cNvPr id="4" name="ïṩḷidê">
            <a:extLst>
              <a:ext uri="{FF2B5EF4-FFF2-40B4-BE49-F238E27FC236}">
                <a16:creationId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11</a:t>
            </a:fld>
            <a:endParaRPr lang="zh-CN" altLang="en-US"/>
          </a:p>
        </p:txBody>
      </p:sp>
      <p:sp>
        <p:nvSpPr>
          <p:cNvPr id="5" name="矩形 4"/>
          <p:cNvSpPr/>
          <p:nvPr/>
        </p:nvSpPr>
        <p:spPr>
          <a:xfrm>
            <a:off x="669925" y="1859340"/>
            <a:ext cx="10850562" cy="2862322"/>
          </a:xfrm>
          <a:prstGeom prst="rect">
            <a:avLst/>
          </a:prstGeom>
        </p:spPr>
        <p:txBody>
          <a:bodyPr wrap="square">
            <a:spAutoFit/>
          </a:bodyPr>
          <a:lstStyle/>
          <a:p>
            <a:r>
              <a:rPr lang="zh-CN" altLang="en-US" dirty="0">
                <a:solidFill>
                  <a:srgbClr val="171717"/>
                </a:solidFill>
                <a:latin typeface="Segoe UI" panose="020B0502040204020203" pitchFamily="34" charset="0"/>
              </a:rPr>
              <a:t>量子力学中最有趣的现象可能是两个或多个量子粒子彼此纠缠。 当粒子纠缠在一起时，它们会形成单个系统，因此不能独立于其他粒子的量子状态来描述任何一个粒子的量子状态。 这意味着，对一个粒子应用的任何操作或过程也会与其他粒子相关</a:t>
            </a:r>
            <a:endParaRPr lang="en-US" altLang="zh-CN" dirty="0">
              <a:solidFill>
                <a:srgbClr val="171717"/>
              </a:solidFill>
              <a:latin typeface="Segoe UI" panose="020B0502040204020203" pitchFamily="34" charset="0"/>
            </a:endParaRPr>
          </a:p>
          <a:p>
            <a:endParaRPr lang="zh-CN" altLang="en-US" dirty="0">
              <a:solidFill>
                <a:srgbClr val="171717"/>
              </a:solidFill>
              <a:latin typeface="Segoe UI" panose="020B0502040204020203" pitchFamily="34" charset="0"/>
            </a:endParaRPr>
          </a:p>
          <a:p>
            <a:r>
              <a:rPr lang="zh-CN" altLang="en-US" dirty="0">
                <a:solidFill>
                  <a:srgbClr val="171717"/>
                </a:solidFill>
                <a:latin typeface="Segoe UI" panose="020B0502040204020203" pitchFamily="34" charset="0"/>
              </a:rPr>
              <a:t>除了这种相互依赖性，粒子甚至还可以在相距甚远的距离（甚至是光年）也可以保持这种连接。 </a:t>
            </a:r>
            <a:r>
              <a:rPr lang="zh-CN" altLang="en-US" dirty="0">
                <a:solidFill>
                  <a:srgbClr val="FF0000"/>
                </a:solidFill>
                <a:latin typeface="Segoe UI" panose="020B0502040204020203" pitchFamily="34" charset="0"/>
              </a:rPr>
              <a:t>量子测量的效果也适用于纠缠的粒子</a:t>
            </a:r>
            <a:r>
              <a:rPr lang="zh-CN" altLang="en-US" dirty="0">
                <a:solidFill>
                  <a:srgbClr val="171717"/>
                </a:solidFill>
                <a:latin typeface="Segoe UI" panose="020B0502040204020203" pitchFamily="34" charset="0"/>
              </a:rPr>
              <a:t>，因此当一个粒子经过测量和坍缩后，其他粒子也将坍缩。 由于纠缠的量子比特之间存在相干性，因此测量一个量子比特的状态可以提供有关其他量子比特的状态的信息，这种特殊的属性在量子计算中非常有用</a:t>
            </a:r>
            <a:endParaRPr lang="en-US" altLang="zh-CN" dirty="0">
              <a:solidFill>
                <a:srgbClr val="171717"/>
              </a:solidFill>
              <a:latin typeface="Segoe UI" panose="020B0502040204020203" pitchFamily="34" charset="0"/>
            </a:endParaRPr>
          </a:p>
          <a:p>
            <a:endParaRPr lang="en-US" altLang="zh-CN" b="0" i="0" dirty="0">
              <a:solidFill>
                <a:srgbClr val="171717"/>
              </a:solidFill>
              <a:effectLst/>
              <a:latin typeface="Segoe UI" panose="020B0502040204020203" pitchFamily="34" charset="0"/>
            </a:endParaRPr>
          </a:p>
          <a:p>
            <a:r>
              <a:rPr lang="zh-CN" altLang="en-US" dirty="0">
                <a:solidFill>
                  <a:srgbClr val="FF0000"/>
                </a:solidFill>
              </a:rPr>
              <a:t>超弦理论：弦论把量子纠缠解释为粒子在高维空间（只存在于普朗克尺度之下）中的三维投影</a:t>
            </a:r>
            <a:endParaRPr lang="zh-CN" altLang="en-US" b="0" i="0" dirty="0">
              <a:solidFill>
                <a:srgbClr val="FF0000"/>
              </a:solidFill>
              <a:effectLst/>
              <a:latin typeface="Segoe UI" panose="020B0502040204020203" pitchFamily="34" charset="0"/>
            </a:endParaRPr>
          </a:p>
        </p:txBody>
      </p:sp>
    </p:spTree>
    <p:custDataLst>
      <p:tags r:id="rId1"/>
    </p:custDataLst>
    <p:extLst>
      <p:ext uri="{BB962C8B-B14F-4D97-AF65-F5344CB8AC3E}">
        <p14:creationId xmlns:p14="http://schemas.microsoft.com/office/powerpoint/2010/main" val="36227194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2" name="íṣľiḑe">
            <a:extLst>
              <a:ext uri="{FF2B5EF4-FFF2-40B4-BE49-F238E27FC236}">
                <a16:creationId xmlns:a16="http://schemas.microsoft.com/office/drawing/2014/main" id="{8AC4395B-A0A0-4D81-B628-E4F9AB374736}"/>
              </a:ext>
            </a:extLst>
          </p:cNvPr>
          <p:cNvSpPr>
            <a:spLocks noGrp="1"/>
          </p:cNvSpPr>
          <p:nvPr>
            <p:ph type="title"/>
          </p:nvPr>
        </p:nvSpPr>
        <p:spPr/>
        <p:txBody>
          <a:bodyPr>
            <a:normAutofit/>
          </a:bodyPr>
          <a:lstStyle/>
          <a:p>
            <a:pPr lvl="0"/>
            <a:r>
              <a:rPr lang="zh-CN" altLang="en-US" dirty="0"/>
              <a:t>量子比特和概率</a:t>
            </a:r>
          </a:p>
        </p:txBody>
      </p:sp>
      <p:sp>
        <p:nvSpPr>
          <p:cNvPr id="4" name="ïṩḷidê">
            <a:extLst>
              <a:ext uri="{FF2B5EF4-FFF2-40B4-BE49-F238E27FC236}">
                <a16:creationId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12</a:t>
            </a:fld>
            <a:endParaRPr lang="zh-CN" altLang="en-US"/>
          </a:p>
        </p:txBody>
      </p:sp>
      <p:sp>
        <p:nvSpPr>
          <p:cNvPr id="3" name="矩形 2"/>
          <p:cNvSpPr/>
          <p:nvPr/>
        </p:nvSpPr>
        <p:spPr>
          <a:xfrm>
            <a:off x="669925" y="1372424"/>
            <a:ext cx="10850564" cy="4524315"/>
          </a:xfrm>
          <a:prstGeom prst="rect">
            <a:avLst/>
          </a:prstGeom>
        </p:spPr>
        <p:txBody>
          <a:bodyPr wrap="square">
            <a:spAutoFit/>
          </a:bodyPr>
          <a:lstStyle/>
          <a:p>
            <a:r>
              <a:rPr lang="zh-CN" altLang="en-US" dirty="0">
                <a:solidFill>
                  <a:srgbClr val="171717"/>
                </a:solidFill>
                <a:latin typeface="Segoe UI" panose="020B0502040204020203" pitchFamily="34" charset="0"/>
              </a:rPr>
              <a:t>经典计算机以比特为单位存储和处理信息，比特的状态可以为 </a:t>
            </a:r>
            <a:r>
              <a:rPr lang="en-US" altLang="zh-CN" dirty="0">
                <a:solidFill>
                  <a:srgbClr val="171717"/>
                </a:solidFill>
                <a:latin typeface="Segoe UI" panose="020B0502040204020203" pitchFamily="34" charset="0"/>
              </a:rPr>
              <a:t>1 </a:t>
            </a:r>
            <a:r>
              <a:rPr lang="zh-CN" altLang="en-US" dirty="0">
                <a:solidFill>
                  <a:srgbClr val="171717"/>
                </a:solidFill>
                <a:latin typeface="Segoe UI" panose="020B0502040204020203" pitchFamily="34" charset="0"/>
              </a:rPr>
              <a:t>或 </a:t>
            </a:r>
            <a:r>
              <a:rPr lang="en-US" altLang="zh-CN" dirty="0">
                <a:solidFill>
                  <a:srgbClr val="171717"/>
                </a:solidFill>
                <a:latin typeface="Segoe UI" panose="020B0502040204020203" pitchFamily="34" charset="0"/>
              </a:rPr>
              <a:t>0</a:t>
            </a:r>
            <a:r>
              <a:rPr lang="zh-CN" altLang="en-US" dirty="0">
                <a:solidFill>
                  <a:srgbClr val="171717"/>
                </a:solidFill>
                <a:latin typeface="Segoe UI" panose="020B0502040204020203" pitchFamily="34" charset="0"/>
              </a:rPr>
              <a:t>，但不能同时处于这两种状态。 量子计算中的等效项是量子比特，它表示量子粒子的状态。 由于叠加，量子比特可以是 </a:t>
            </a:r>
            <a:r>
              <a:rPr lang="en-US" altLang="zh-CN" dirty="0">
                <a:solidFill>
                  <a:srgbClr val="171717"/>
                </a:solidFill>
                <a:latin typeface="Segoe UI" panose="020B0502040204020203" pitchFamily="34" charset="0"/>
              </a:rPr>
              <a:t>1 </a:t>
            </a:r>
            <a:r>
              <a:rPr lang="zh-CN" altLang="en-US" dirty="0">
                <a:solidFill>
                  <a:srgbClr val="171717"/>
                </a:solidFill>
                <a:latin typeface="Segoe UI" panose="020B0502040204020203" pitchFamily="34" charset="0"/>
              </a:rPr>
              <a:t>或 </a:t>
            </a:r>
            <a:r>
              <a:rPr lang="en-US" altLang="zh-CN" dirty="0">
                <a:solidFill>
                  <a:srgbClr val="171717"/>
                </a:solidFill>
                <a:latin typeface="Segoe UI" panose="020B0502040204020203" pitchFamily="34" charset="0"/>
              </a:rPr>
              <a:t>0</a:t>
            </a:r>
            <a:r>
              <a:rPr lang="zh-CN" altLang="en-US" dirty="0">
                <a:solidFill>
                  <a:srgbClr val="171717"/>
                </a:solidFill>
                <a:latin typeface="Segoe UI" panose="020B0502040204020203" pitchFamily="34" charset="0"/>
              </a:rPr>
              <a:t>，也可以介于这两者之间。 根据其配置，量子比特具有坍缩为 </a:t>
            </a:r>
            <a:r>
              <a:rPr lang="en-US" altLang="zh-CN" dirty="0">
                <a:solidFill>
                  <a:srgbClr val="171717"/>
                </a:solidFill>
                <a:latin typeface="Segoe UI" panose="020B0502040204020203" pitchFamily="34" charset="0"/>
              </a:rPr>
              <a:t>1 </a:t>
            </a:r>
            <a:r>
              <a:rPr lang="zh-CN" altLang="en-US" dirty="0">
                <a:solidFill>
                  <a:srgbClr val="171717"/>
                </a:solidFill>
                <a:latin typeface="Segoe UI" panose="020B0502040204020203" pitchFamily="34" charset="0"/>
              </a:rPr>
              <a:t>或 </a:t>
            </a:r>
            <a:r>
              <a:rPr lang="en-US" altLang="zh-CN" dirty="0">
                <a:solidFill>
                  <a:srgbClr val="171717"/>
                </a:solidFill>
                <a:latin typeface="Segoe UI" panose="020B0502040204020203" pitchFamily="34" charset="0"/>
              </a:rPr>
              <a:t>0 </a:t>
            </a:r>
            <a:r>
              <a:rPr lang="zh-CN" altLang="en-US" dirty="0">
                <a:solidFill>
                  <a:srgbClr val="171717"/>
                </a:solidFill>
                <a:latin typeface="Segoe UI" panose="020B0502040204020203" pitchFamily="34" charset="0"/>
              </a:rPr>
              <a:t>的一定概率。 量子比特坍缩方式的概率取决于</a:t>
            </a:r>
            <a:r>
              <a:rPr lang="zh-CN" altLang="en-US" dirty="0">
                <a:solidFill>
                  <a:srgbClr val="FF0000"/>
                </a:solidFill>
                <a:latin typeface="Segoe UI" panose="020B0502040204020203" pitchFamily="34" charset="0"/>
              </a:rPr>
              <a:t>量子干扰</a:t>
            </a:r>
            <a:endParaRPr lang="en-US" altLang="zh-CN" dirty="0">
              <a:solidFill>
                <a:srgbClr val="FF0000"/>
              </a:solidFill>
              <a:latin typeface="Segoe UI" panose="020B0502040204020203" pitchFamily="34" charset="0"/>
            </a:endParaRPr>
          </a:p>
          <a:p>
            <a:endParaRPr lang="zh-CN" altLang="en-US" dirty="0">
              <a:solidFill>
                <a:srgbClr val="171717"/>
              </a:solidFill>
              <a:latin typeface="Segoe UI" panose="020B0502040204020203" pitchFamily="34" charset="0"/>
            </a:endParaRPr>
          </a:p>
          <a:p>
            <a:r>
              <a:rPr lang="zh-CN" altLang="en-US" dirty="0">
                <a:solidFill>
                  <a:srgbClr val="171717"/>
                </a:solidFill>
                <a:latin typeface="Segoe UI" panose="020B0502040204020203" pitchFamily="34" charset="0"/>
              </a:rPr>
              <a:t>还记得为你拍过照的朋友吗？ 假设相机上有特殊的滤镜，称为干扰滤镜。 如果他们选择 </a:t>
            </a:r>
            <a:r>
              <a:rPr lang="en-US" altLang="zh-CN" dirty="0">
                <a:solidFill>
                  <a:srgbClr val="171717"/>
                </a:solidFill>
                <a:latin typeface="Segoe UI" panose="020B0502040204020203" pitchFamily="34" charset="0"/>
              </a:rPr>
              <a:t>70/30 </a:t>
            </a:r>
            <a:r>
              <a:rPr lang="zh-CN" altLang="en-US" dirty="0">
                <a:solidFill>
                  <a:srgbClr val="171717"/>
                </a:solidFill>
                <a:latin typeface="Segoe UI" panose="020B0502040204020203" pitchFamily="34" charset="0"/>
              </a:rPr>
              <a:t>滤镜并开始拍照，则其中 </a:t>
            </a:r>
            <a:r>
              <a:rPr lang="en-US" altLang="zh-CN" dirty="0">
                <a:solidFill>
                  <a:srgbClr val="171717"/>
                </a:solidFill>
                <a:latin typeface="Segoe UI" panose="020B0502040204020203" pitchFamily="34" charset="0"/>
              </a:rPr>
              <a:t>70% </a:t>
            </a:r>
            <a:r>
              <a:rPr lang="zh-CN" altLang="en-US" dirty="0">
                <a:solidFill>
                  <a:srgbClr val="171717"/>
                </a:solidFill>
                <a:latin typeface="Segoe UI" panose="020B0502040204020203" pitchFamily="34" charset="0"/>
              </a:rPr>
              <a:t>的照片上的人将向左，而 </a:t>
            </a:r>
            <a:r>
              <a:rPr lang="en-US" altLang="zh-CN" dirty="0">
                <a:solidFill>
                  <a:srgbClr val="171717"/>
                </a:solidFill>
                <a:latin typeface="Segoe UI" panose="020B0502040204020203" pitchFamily="34" charset="0"/>
              </a:rPr>
              <a:t>30% </a:t>
            </a:r>
            <a:r>
              <a:rPr lang="zh-CN" altLang="en-US" dirty="0">
                <a:solidFill>
                  <a:srgbClr val="171717"/>
                </a:solidFill>
                <a:latin typeface="Segoe UI" panose="020B0502040204020203" pitchFamily="34" charset="0"/>
              </a:rPr>
              <a:t>的照片上的人将向右。 滤镜干扰了相机的正常状态，从而影响了其行为的概率</a:t>
            </a:r>
            <a:endParaRPr lang="en-US" altLang="zh-CN" dirty="0">
              <a:solidFill>
                <a:srgbClr val="171717"/>
              </a:solidFill>
              <a:latin typeface="Segoe UI" panose="020B0502040204020203" pitchFamily="34" charset="0"/>
            </a:endParaRPr>
          </a:p>
          <a:p>
            <a:endParaRPr lang="zh-CN" altLang="en-US" dirty="0">
              <a:solidFill>
                <a:srgbClr val="171717"/>
              </a:solidFill>
              <a:latin typeface="Segoe UI" panose="020B0502040204020203" pitchFamily="34" charset="0"/>
            </a:endParaRPr>
          </a:p>
          <a:p>
            <a:r>
              <a:rPr lang="zh-CN" altLang="en-US" dirty="0">
                <a:solidFill>
                  <a:srgbClr val="171717"/>
                </a:solidFill>
                <a:latin typeface="Segoe UI" panose="020B0502040204020203" pitchFamily="34" charset="0"/>
              </a:rPr>
              <a:t>同样，量子干扰会影响量子比特的状态，从而在测量过程中影响特定结果的概率，而</a:t>
            </a:r>
            <a:r>
              <a:rPr lang="zh-CN" altLang="en-US" dirty="0">
                <a:solidFill>
                  <a:srgbClr val="FF0000"/>
                </a:solidFill>
                <a:latin typeface="Segoe UI" panose="020B0502040204020203" pitchFamily="34" charset="0"/>
              </a:rPr>
              <a:t>这种概率状态正是量子计算的优势</a:t>
            </a:r>
            <a:endParaRPr lang="en-US" altLang="zh-CN" dirty="0">
              <a:solidFill>
                <a:srgbClr val="FF0000"/>
              </a:solidFill>
              <a:latin typeface="Segoe UI" panose="020B0502040204020203" pitchFamily="34" charset="0"/>
            </a:endParaRPr>
          </a:p>
          <a:p>
            <a:endParaRPr lang="zh-CN" altLang="en-US" dirty="0">
              <a:solidFill>
                <a:srgbClr val="171717"/>
              </a:solidFill>
              <a:latin typeface="Segoe UI" panose="020B0502040204020203" pitchFamily="34" charset="0"/>
            </a:endParaRPr>
          </a:p>
          <a:p>
            <a:r>
              <a:rPr lang="zh-CN" altLang="en-US" dirty="0">
                <a:solidFill>
                  <a:srgbClr val="171717"/>
                </a:solidFill>
                <a:latin typeface="Segoe UI" panose="020B0502040204020203" pitchFamily="34" charset="0"/>
              </a:rPr>
              <a:t>例如，经典计算机中只有两个比特，其中每个比特都可以存储 </a:t>
            </a:r>
            <a:r>
              <a:rPr lang="en-US" altLang="zh-CN" dirty="0">
                <a:solidFill>
                  <a:srgbClr val="171717"/>
                </a:solidFill>
                <a:latin typeface="Segoe UI" panose="020B0502040204020203" pitchFamily="34" charset="0"/>
              </a:rPr>
              <a:t>1 </a:t>
            </a:r>
            <a:r>
              <a:rPr lang="zh-CN" altLang="en-US" dirty="0">
                <a:solidFill>
                  <a:srgbClr val="171717"/>
                </a:solidFill>
                <a:latin typeface="Segoe UI" panose="020B0502040204020203" pitchFamily="34" charset="0"/>
              </a:rPr>
              <a:t>或 </a:t>
            </a:r>
            <a:r>
              <a:rPr lang="en-US" altLang="zh-CN" dirty="0">
                <a:solidFill>
                  <a:srgbClr val="171717"/>
                </a:solidFill>
                <a:latin typeface="Segoe UI" panose="020B0502040204020203" pitchFamily="34" charset="0"/>
              </a:rPr>
              <a:t>0</a:t>
            </a:r>
            <a:r>
              <a:rPr lang="zh-CN" altLang="en-US" dirty="0">
                <a:solidFill>
                  <a:srgbClr val="171717"/>
                </a:solidFill>
                <a:latin typeface="Segoe UI" panose="020B0502040204020203" pitchFamily="34" charset="0"/>
              </a:rPr>
              <a:t>，因此，你可以同时存储四个可能的值（</a:t>
            </a:r>
            <a:r>
              <a:rPr lang="en-US" altLang="zh-CN" dirty="0">
                <a:solidFill>
                  <a:srgbClr val="171717"/>
                </a:solidFill>
                <a:latin typeface="Segoe UI" panose="020B0502040204020203" pitchFamily="34" charset="0"/>
              </a:rPr>
              <a:t>00</a:t>
            </a:r>
            <a:r>
              <a:rPr lang="zh-CN" altLang="en-US" dirty="0">
                <a:solidFill>
                  <a:srgbClr val="171717"/>
                </a:solidFill>
                <a:latin typeface="Segoe UI" panose="020B0502040204020203" pitchFamily="34" charset="0"/>
              </a:rPr>
              <a:t>、</a:t>
            </a:r>
            <a:r>
              <a:rPr lang="en-US" altLang="zh-CN" dirty="0">
                <a:solidFill>
                  <a:srgbClr val="171717"/>
                </a:solidFill>
                <a:latin typeface="Segoe UI" panose="020B0502040204020203" pitchFamily="34" charset="0"/>
              </a:rPr>
              <a:t>01</a:t>
            </a:r>
            <a:r>
              <a:rPr lang="zh-CN" altLang="en-US" dirty="0">
                <a:solidFill>
                  <a:srgbClr val="171717"/>
                </a:solidFill>
                <a:latin typeface="Segoe UI" panose="020B0502040204020203" pitchFamily="34" charset="0"/>
              </a:rPr>
              <a:t>、</a:t>
            </a:r>
            <a:r>
              <a:rPr lang="en-US" altLang="zh-CN" dirty="0">
                <a:solidFill>
                  <a:srgbClr val="171717"/>
                </a:solidFill>
                <a:latin typeface="Segoe UI" panose="020B0502040204020203" pitchFamily="34" charset="0"/>
              </a:rPr>
              <a:t>10 </a:t>
            </a:r>
            <a:r>
              <a:rPr lang="zh-CN" altLang="en-US" dirty="0">
                <a:solidFill>
                  <a:srgbClr val="171717"/>
                </a:solidFill>
                <a:latin typeface="Segoe UI" panose="020B0502040204020203" pitchFamily="34" charset="0"/>
              </a:rPr>
              <a:t>和 </a:t>
            </a:r>
            <a:r>
              <a:rPr lang="en-US" altLang="zh-CN" dirty="0">
                <a:solidFill>
                  <a:srgbClr val="171717"/>
                </a:solidFill>
                <a:latin typeface="Segoe UI" panose="020B0502040204020203" pitchFamily="34" charset="0"/>
              </a:rPr>
              <a:t>11</a:t>
            </a:r>
            <a:r>
              <a:rPr lang="zh-CN" altLang="en-US" dirty="0">
                <a:solidFill>
                  <a:srgbClr val="171717"/>
                </a:solidFill>
                <a:latin typeface="Segoe UI" panose="020B0502040204020203" pitchFamily="34" charset="0"/>
              </a:rPr>
              <a:t>），但一次只能存储一个值 。 但在两个量子比特重叠的情况下，每个量子比特都可以是 </a:t>
            </a:r>
            <a:r>
              <a:rPr lang="en-US" altLang="zh-CN" dirty="0">
                <a:solidFill>
                  <a:srgbClr val="171717"/>
                </a:solidFill>
                <a:latin typeface="Segoe UI" panose="020B0502040204020203" pitchFamily="34" charset="0"/>
              </a:rPr>
              <a:t>1 </a:t>
            </a:r>
            <a:r>
              <a:rPr lang="zh-CN" altLang="en-US" dirty="0">
                <a:solidFill>
                  <a:srgbClr val="171717"/>
                </a:solidFill>
                <a:latin typeface="Segoe UI" panose="020B0502040204020203" pitchFamily="34" charset="0"/>
              </a:rPr>
              <a:t>和 </a:t>
            </a:r>
            <a:r>
              <a:rPr lang="en-US" altLang="zh-CN" dirty="0">
                <a:solidFill>
                  <a:srgbClr val="171717"/>
                </a:solidFill>
                <a:latin typeface="Segoe UI" panose="020B0502040204020203" pitchFamily="34" charset="0"/>
              </a:rPr>
              <a:t>/ </a:t>
            </a:r>
            <a:r>
              <a:rPr lang="zh-CN" altLang="en-US" dirty="0">
                <a:solidFill>
                  <a:srgbClr val="171717"/>
                </a:solidFill>
                <a:latin typeface="Segoe UI" panose="020B0502040204020203" pitchFamily="34" charset="0"/>
              </a:rPr>
              <a:t>或 </a:t>
            </a:r>
            <a:r>
              <a:rPr lang="en-US" altLang="zh-CN" dirty="0">
                <a:solidFill>
                  <a:srgbClr val="171717"/>
                </a:solidFill>
                <a:latin typeface="Segoe UI" panose="020B0502040204020203" pitchFamily="34" charset="0"/>
              </a:rPr>
              <a:t>0</a:t>
            </a:r>
            <a:r>
              <a:rPr lang="zh-CN" altLang="en-US" dirty="0">
                <a:solidFill>
                  <a:srgbClr val="171717"/>
                </a:solidFill>
                <a:latin typeface="Segoe UI" panose="020B0502040204020203" pitchFamily="34" charset="0"/>
              </a:rPr>
              <a:t>，因此你可以同时表示四个相同值。 如果是三个量子比特，则可表示八个值；如果是四个量子比特，可表示 </a:t>
            </a:r>
            <a:r>
              <a:rPr lang="en-US" altLang="zh-CN" dirty="0">
                <a:solidFill>
                  <a:srgbClr val="171717"/>
                </a:solidFill>
                <a:latin typeface="Segoe UI" panose="020B0502040204020203" pitchFamily="34" charset="0"/>
              </a:rPr>
              <a:t>16 </a:t>
            </a:r>
            <a:r>
              <a:rPr lang="zh-CN" altLang="en-US" dirty="0">
                <a:solidFill>
                  <a:srgbClr val="171717"/>
                </a:solidFill>
                <a:latin typeface="Segoe UI" panose="020B0502040204020203" pitchFamily="34" charset="0"/>
              </a:rPr>
              <a:t>个值，依此类推。</a:t>
            </a:r>
            <a:endParaRPr lang="zh-CN" altLang="en-US" b="0" i="0" dirty="0">
              <a:solidFill>
                <a:srgbClr val="171717"/>
              </a:solidFill>
              <a:effectLst/>
              <a:latin typeface="Segoe UI" panose="020B0502040204020203" pitchFamily="34" charset="0"/>
            </a:endParaRPr>
          </a:p>
        </p:txBody>
      </p:sp>
    </p:spTree>
    <p:custDataLst>
      <p:tags r:id="rId1"/>
    </p:custDataLst>
    <p:extLst>
      <p:ext uri="{BB962C8B-B14F-4D97-AF65-F5344CB8AC3E}">
        <p14:creationId xmlns:p14="http://schemas.microsoft.com/office/powerpoint/2010/main" val="36682563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i$ḷíḑê"/>
        <p:cNvGrpSpPr/>
        <p:nvPr/>
      </p:nvGrpSpPr>
      <p:grpSpPr>
        <a:xfrm>
          <a:off x="0" y="0"/>
          <a:ext cx="0" cy="0"/>
          <a:chOff x="0" y="0"/>
          <a:chExt cx="0" cy="0"/>
        </a:xfrm>
      </p:grpSpPr>
      <p:sp>
        <p:nvSpPr>
          <p:cNvPr id="5" name="íšľîḑê"/>
          <p:cNvSpPr>
            <a:spLocks noGrp="1"/>
          </p:cNvSpPr>
          <p:nvPr>
            <p:ph type="title"/>
          </p:nvPr>
        </p:nvSpPr>
        <p:spPr>
          <a:xfrm>
            <a:off x="4751615" y="3380413"/>
            <a:ext cx="5419185" cy="895350"/>
          </a:xfrm>
        </p:spPr>
        <p:txBody>
          <a:bodyPr/>
          <a:lstStyle/>
          <a:p>
            <a:r>
              <a:rPr lang="zh-CN" altLang="en-US" dirty="0"/>
              <a:t>量子计算机和模拟器</a:t>
            </a:r>
          </a:p>
        </p:txBody>
      </p:sp>
      <p:sp>
        <p:nvSpPr>
          <p:cNvPr id="9" name="iṧḻiḑe">
            <a:extLst>
              <a:ext uri="{FF2B5EF4-FFF2-40B4-BE49-F238E27FC236}">
                <a16:creationId xmlns:a16="http://schemas.microsoft.com/office/drawing/2014/main" id="{04F69230-F3A6-4586-9371-A858F4763E9F}"/>
              </a:ext>
            </a:extLst>
          </p:cNvPr>
          <p:cNvSpPr txBox="1"/>
          <p:nvPr/>
        </p:nvSpPr>
        <p:spPr>
          <a:xfrm>
            <a:off x="4751615" y="1566614"/>
            <a:ext cx="2141996" cy="1862386"/>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a:t>
            </a:r>
            <a:r>
              <a:rPr lang="en-US" altLang="zh-CN" sz="100" spc="100" dirty="0">
                <a:solidFill>
                  <a:schemeClr val="accent1"/>
                </a:solidFill>
                <a:latin typeface="Impact" panose="020B0806030902050204" pitchFamily="34" charset="0"/>
                <a:cs typeface="Arial" panose="020B0604020202020204" pitchFamily="34" charset="0"/>
              </a:rPr>
              <a:t> </a:t>
            </a:r>
            <a:r>
              <a:rPr lang="en-US" altLang="zh-CN" spc="100" dirty="0">
                <a:solidFill>
                  <a:schemeClr val="accent1"/>
                </a:solidFill>
                <a:latin typeface="Impact" panose="020B0806030902050204" pitchFamily="34" charset="0"/>
                <a:cs typeface="Arial" panose="020B0604020202020204" pitchFamily="34" charset="0"/>
              </a:rPr>
              <a:t>03</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27016554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2" name="íṣľiḑe">
            <a:extLst>
              <a:ext uri="{FF2B5EF4-FFF2-40B4-BE49-F238E27FC236}">
                <a16:creationId xmlns:a16="http://schemas.microsoft.com/office/drawing/2014/main" id="{8AC4395B-A0A0-4D81-B628-E4F9AB374736}"/>
              </a:ext>
            </a:extLst>
          </p:cNvPr>
          <p:cNvSpPr>
            <a:spLocks noGrp="1"/>
          </p:cNvSpPr>
          <p:nvPr>
            <p:ph type="title"/>
          </p:nvPr>
        </p:nvSpPr>
        <p:spPr/>
        <p:txBody>
          <a:bodyPr>
            <a:normAutofit/>
          </a:bodyPr>
          <a:lstStyle/>
          <a:p>
            <a:pPr lvl="0"/>
            <a:r>
              <a:rPr lang="zh-CN" altLang="en-US" dirty="0"/>
              <a:t>量子硬件</a:t>
            </a:r>
          </a:p>
        </p:txBody>
      </p:sp>
      <p:sp>
        <p:nvSpPr>
          <p:cNvPr id="4" name="ïṩḷidê">
            <a:extLst>
              <a:ext uri="{FF2B5EF4-FFF2-40B4-BE49-F238E27FC236}">
                <a16:creationId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14</a:t>
            </a:fld>
            <a:endParaRPr lang="zh-CN" altLang="en-US"/>
          </a:p>
        </p:txBody>
      </p:sp>
      <p:sp>
        <p:nvSpPr>
          <p:cNvPr id="5" name="文本框 4"/>
          <p:cNvSpPr txBox="1"/>
          <p:nvPr/>
        </p:nvSpPr>
        <p:spPr>
          <a:xfrm>
            <a:off x="1119673" y="1922106"/>
            <a:ext cx="1338828" cy="369332"/>
          </a:xfrm>
          <a:prstGeom prst="rect">
            <a:avLst/>
          </a:prstGeom>
          <a:noFill/>
        </p:spPr>
        <p:txBody>
          <a:bodyPr wrap="none" rtlCol="0">
            <a:spAutoFit/>
          </a:bodyPr>
          <a:lstStyle/>
          <a:p>
            <a:r>
              <a:rPr lang="zh-CN" altLang="en-US" dirty="0"/>
              <a:t>量子计算机</a:t>
            </a:r>
          </a:p>
        </p:txBody>
      </p:sp>
      <p:sp>
        <p:nvSpPr>
          <p:cNvPr id="6" name="文本框 5"/>
          <p:cNvSpPr txBox="1"/>
          <p:nvPr/>
        </p:nvSpPr>
        <p:spPr>
          <a:xfrm>
            <a:off x="2892489" y="1418252"/>
            <a:ext cx="2262158" cy="369332"/>
          </a:xfrm>
          <a:prstGeom prst="rect">
            <a:avLst/>
          </a:prstGeom>
          <a:noFill/>
        </p:spPr>
        <p:txBody>
          <a:bodyPr wrap="none" rtlCol="0">
            <a:spAutoFit/>
          </a:bodyPr>
          <a:lstStyle/>
          <a:p>
            <a:r>
              <a:rPr lang="zh-CN" altLang="en-US" dirty="0"/>
              <a:t>容纳量子比特的区域</a:t>
            </a:r>
          </a:p>
        </p:txBody>
      </p:sp>
      <p:sp>
        <p:nvSpPr>
          <p:cNvPr id="7" name="文本框 6"/>
          <p:cNvSpPr txBox="1"/>
          <p:nvPr/>
        </p:nvSpPr>
        <p:spPr>
          <a:xfrm>
            <a:off x="2892489" y="1925194"/>
            <a:ext cx="3185487" cy="369332"/>
          </a:xfrm>
          <a:prstGeom prst="rect">
            <a:avLst/>
          </a:prstGeom>
          <a:noFill/>
        </p:spPr>
        <p:txBody>
          <a:bodyPr wrap="none" rtlCol="0">
            <a:spAutoFit/>
          </a:bodyPr>
          <a:lstStyle/>
          <a:p>
            <a:r>
              <a:rPr lang="zh-CN" altLang="en-US" dirty="0"/>
              <a:t>将信号传输到量子比特的方法</a:t>
            </a:r>
          </a:p>
        </p:txBody>
      </p:sp>
      <p:sp>
        <p:nvSpPr>
          <p:cNvPr id="8" name="文本框 7"/>
          <p:cNvSpPr txBox="1"/>
          <p:nvPr/>
        </p:nvSpPr>
        <p:spPr>
          <a:xfrm>
            <a:off x="2892489" y="2430205"/>
            <a:ext cx="3647152" cy="369332"/>
          </a:xfrm>
          <a:prstGeom prst="rect">
            <a:avLst/>
          </a:prstGeom>
          <a:noFill/>
        </p:spPr>
        <p:txBody>
          <a:bodyPr wrap="none" rtlCol="0">
            <a:spAutoFit/>
          </a:bodyPr>
          <a:lstStyle/>
          <a:p>
            <a:r>
              <a:rPr lang="zh-CN" altLang="en-US" dirty="0"/>
              <a:t>运行程序和发送指令的经典计算机</a:t>
            </a:r>
          </a:p>
        </p:txBody>
      </p:sp>
      <p:cxnSp>
        <p:nvCxnSpPr>
          <p:cNvPr id="10" name="肘形连接符 9"/>
          <p:cNvCxnSpPr>
            <a:stCxn id="5" idx="3"/>
            <a:endCxn id="6" idx="1"/>
          </p:cNvCxnSpPr>
          <p:nvPr/>
        </p:nvCxnSpPr>
        <p:spPr>
          <a:xfrm flipV="1">
            <a:off x="2458501" y="1602918"/>
            <a:ext cx="433988" cy="50385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肘形连接符 11"/>
          <p:cNvCxnSpPr>
            <a:stCxn id="5" idx="3"/>
            <a:endCxn id="7" idx="1"/>
          </p:cNvCxnSpPr>
          <p:nvPr/>
        </p:nvCxnSpPr>
        <p:spPr>
          <a:xfrm>
            <a:off x="2458501" y="2106772"/>
            <a:ext cx="433988" cy="308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肘形连接符 14"/>
          <p:cNvCxnSpPr>
            <a:stCxn id="5" idx="3"/>
            <a:endCxn id="8" idx="1"/>
          </p:cNvCxnSpPr>
          <p:nvPr/>
        </p:nvCxnSpPr>
        <p:spPr>
          <a:xfrm>
            <a:off x="2458501" y="2106772"/>
            <a:ext cx="433988" cy="50809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矩形 18"/>
          <p:cNvSpPr/>
          <p:nvPr/>
        </p:nvSpPr>
        <p:spPr>
          <a:xfrm>
            <a:off x="1119672" y="3380786"/>
            <a:ext cx="10400815" cy="1477328"/>
          </a:xfrm>
          <a:prstGeom prst="rect">
            <a:avLst/>
          </a:prstGeom>
        </p:spPr>
        <p:txBody>
          <a:bodyPr wrap="square">
            <a:spAutoFit/>
          </a:bodyPr>
          <a:lstStyle/>
          <a:p>
            <a:r>
              <a:rPr lang="zh-CN" altLang="en-US" dirty="0">
                <a:solidFill>
                  <a:srgbClr val="171717"/>
                </a:solidFill>
                <a:latin typeface="Segoe UI" panose="020B0502040204020203" pitchFamily="34" charset="0"/>
              </a:rPr>
              <a:t>用于量子比特的量子材料易碎且对环境干扰高度敏感。 对于某些量子比特存储方法，存储量子比特的装置保持在稍高于绝对值零的温度，以最大化其相干性。 其他类型的量子比特装置使用真空室来帮助最大程度地减少振动并使量子比特保持稳定</a:t>
            </a:r>
          </a:p>
          <a:p>
            <a:endParaRPr lang="en-US" altLang="zh-CN" dirty="0">
              <a:solidFill>
                <a:srgbClr val="171717"/>
              </a:solidFill>
              <a:latin typeface="Segoe UI" panose="020B0502040204020203" pitchFamily="34" charset="0"/>
            </a:endParaRPr>
          </a:p>
          <a:p>
            <a:r>
              <a:rPr lang="zh-CN" altLang="en-US" dirty="0">
                <a:solidFill>
                  <a:srgbClr val="171717"/>
                </a:solidFill>
                <a:latin typeface="Segoe UI" panose="020B0502040204020203" pitchFamily="34" charset="0"/>
              </a:rPr>
              <a:t>可以使用多种方法（包括微波、激光和电压）将信号发送到量子比特</a:t>
            </a:r>
            <a:endParaRPr lang="zh-CN" altLang="en-US" b="0" i="0" dirty="0">
              <a:solidFill>
                <a:srgbClr val="171717"/>
              </a:solidFill>
              <a:effectLst/>
              <a:latin typeface="Segoe UI" panose="020B0502040204020203" pitchFamily="34" charset="0"/>
            </a:endParaRPr>
          </a:p>
        </p:txBody>
      </p:sp>
    </p:spTree>
    <p:custDataLst>
      <p:tags r:id="rId1"/>
    </p:custDataLst>
    <p:extLst>
      <p:ext uri="{BB962C8B-B14F-4D97-AF65-F5344CB8AC3E}">
        <p14:creationId xmlns:p14="http://schemas.microsoft.com/office/powerpoint/2010/main" val="6541823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2" name="íṣľiḑe">
            <a:extLst>
              <a:ext uri="{FF2B5EF4-FFF2-40B4-BE49-F238E27FC236}">
                <a16:creationId xmlns:a16="http://schemas.microsoft.com/office/drawing/2014/main" id="{8AC4395B-A0A0-4D81-B628-E4F9AB374736}"/>
              </a:ext>
            </a:extLst>
          </p:cNvPr>
          <p:cNvSpPr>
            <a:spLocks noGrp="1"/>
          </p:cNvSpPr>
          <p:nvPr>
            <p:ph type="title"/>
          </p:nvPr>
        </p:nvSpPr>
        <p:spPr/>
        <p:txBody>
          <a:bodyPr>
            <a:normAutofit/>
          </a:bodyPr>
          <a:lstStyle/>
          <a:p>
            <a:pPr lvl="0"/>
            <a:r>
              <a:rPr lang="zh-CN" altLang="en-US" dirty="0"/>
              <a:t>量子计算</a:t>
            </a:r>
          </a:p>
        </p:txBody>
      </p:sp>
      <p:sp>
        <p:nvSpPr>
          <p:cNvPr id="4" name="ïṩḷidê">
            <a:extLst>
              <a:ext uri="{FF2B5EF4-FFF2-40B4-BE49-F238E27FC236}">
                <a16:creationId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15</a:t>
            </a:fld>
            <a:endParaRPr lang="zh-CN" altLang="en-US"/>
          </a:p>
        </p:txBody>
      </p:sp>
      <p:sp>
        <p:nvSpPr>
          <p:cNvPr id="3" name="矩形 2"/>
          <p:cNvSpPr/>
          <p:nvPr/>
        </p:nvSpPr>
        <p:spPr>
          <a:xfrm>
            <a:off x="1039729" y="1496017"/>
            <a:ext cx="9025814" cy="2585323"/>
          </a:xfrm>
          <a:prstGeom prst="rect">
            <a:avLst/>
          </a:prstGeom>
        </p:spPr>
        <p:txBody>
          <a:bodyPr wrap="square">
            <a:spAutoFit/>
          </a:bodyPr>
          <a:lstStyle/>
          <a:p>
            <a:r>
              <a:rPr lang="zh-CN" altLang="en-US" dirty="0">
                <a:solidFill>
                  <a:srgbClr val="171717"/>
                </a:solidFill>
                <a:latin typeface="Segoe UI" panose="020B0502040204020203" pitchFamily="34" charset="0"/>
              </a:rPr>
              <a:t>在量子计算机或量子模拟器上执行计算遵循以下基本流程：</a:t>
            </a:r>
            <a:endParaRPr lang="en-US" altLang="zh-CN" dirty="0">
              <a:solidFill>
                <a:srgbClr val="171717"/>
              </a:solidFill>
              <a:latin typeface="Segoe UI" panose="020B0502040204020203" pitchFamily="34" charset="0"/>
            </a:endParaRPr>
          </a:p>
          <a:p>
            <a:endParaRPr lang="zh-CN" altLang="en-US" dirty="0">
              <a:solidFill>
                <a:srgbClr val="171717"/>
              </a:solidFill>
              <a:latin typeface="Segoe UI" panose="020B0502040204020203" pitchFamily="34" charset="0"/>
            </a:endParaRPr>
          </a:p>
          <a:p>
            <a:r>
              <a:rPr lang="zh-CN" altLang="en-US" dirty="0">
                <a:solidFill>
                  <a:srgbClr val="FF0000"/>
                </a:solidFill>
                <a:latin typeface="Segoe UI" panose="020B0502040204020203" pitchFamily="34" charset="0"/>
              </a:rPr>
              <a:t>① 访问量子比特；</a:t>
            </a:r>
            <a:endParaRPr lang="en-US" altLang="zh-CN" dirty="0">
              <a:solidFill>
                <a:srgbClr val="FF0000"/>
              </a:solidFill>
              <a:latin typeface="Segoe UI" panose="020B0502040204020203" pitchFamily="34" charset="0"/>
            </a:endParaRPr>
          </a:p>
          <a:p>
            <a:endParaRPr lang="zh-CN" altLang="en-US" dirty="0">
              <a:solidFill>
                <a:srgbClr val="FF0000"/>
              </a:solidFill>
              <a:latin typeface="Segoe UI" panose="020B0502040204020203" pitchFamily="34" charset="0"/>
            </a:endParaRPr>
          </a:p>
          <a:p>
            <a:r>
              <a:rPr lang="zh-CN" altLang="en-US" dirty="0">
                <a:solidFill>
                  <a:srgbClr val="FF0000"/>
                </a:solidFill>
                <a:latin typeface="Segoe UI" panose="020B0502040204020203" pitchFamily="34" charset="0"/>
              </a:rPr>
              <a:t>② 将量子比特初始化为期望状态；</a:t>
            </a:r>
            <a:endParaRPr lang="en-US" altLang="zh-CN" dirty="0">
              <a:solidFill>
                <a:srgbClr val="FF0000"/>
              </a:solidFill>
              <a:latin typeface="Segoe UI" panose="020B0502040204020203" pitchFamily="34" charset="0"/>
            </a:endParaRPr>
          </a:p>
          <a:p>
            <a:endParaRPr lang="zh-CN" altLang="en-US" dirty="0">
              <a:solidFill>
                <a:srgbClr val="FF0000"/>
              </a:solidFill>
              <a:latin typeface="Segoe UI" panose="020B0502040204020203" pitchFamily="34" charset="0"/>
            </a:endParaRPr>
          </a:p>
          <a:p>
            <a:r>
              <a:rPr lang="zh-CN" altLang="en-US" dirty="0">
                <a:solidFill>
                  <a:srgbClr val="FF0000"/>
                </a:solidFill>
                <a:latin typeface="Segoe UI" panose="020B0502040204020203" pitchFamily="34" charset="0"/>
              </a:rPr>
              <a:t>③ 执行操作以转换量子比特的状态；</a:t>
            </a:r>
            <a:endParaRPr lang="en-US" altLang="zh-CN" dirty="0">
              <a:solidFill>
                <a:srgbClr val="FF0000"/>
              </a:solidFill>
              <a:latin typeface="Segoe UI" panose="020B0502040204020203" pitchFamily="34" charset="0"/>
            </a:endParaRPr>
          </a:p>
          <a:p>
            <a:endParaRPr lang="zh-CN" altLang="en-US" dirty="0">
              <a:solidFill>
                <a:srgbClr val="FF0000"/>
              </a:solidFill>
              <a:latin typeface="Segoe UI" panose="020B0502040204020203" pitchFamily="34" charset="0"/>
            </a:endParaRPr>
          </a:p>
          <a:p>
            <a:r>
              <a:rPr lang="zh-CN" altLang="en-US" dirty="0">
                <a:solidFill>
                  <a:srgbClr val="FF0000"/>
                </a:solidFill>
                <a:latin typeface="Segoe UI" panose="020B0502040204020203" pitchFamily="34" charset="0"/>
              </a:rPr>
              <a:t>④ 测试量子比特的新状态</a:t>
            </a:r>
            <a:endParaRPr lang="zh-CN" altLang="en-US" b="0" i="0" dirty="0">
              <a:solidFill>
                <a:srgbClr val="FF0000"/>
              </a:solidFill>
              <a:effectLst/>
              <a:latin typeface="Segoe UI" panose="020B0502040204020203" pitchFamily="34" charset="0"/>
            </a:endParaRPr>
          </a:p>
        </p:txBody>
      </p:sp>
      <p:sp>
        <p:nvSpPr>
          <p:cNvPr id="9" name="矩形 8"/>
          <p:cNvSpPr/>
          <p:nvPr/>
        </p:nvSpPr>
        <p:spPr>
          <a:xfrm>
            <a:off x="1039729" y="4313862"/>
            <a:ext cx="10480758" cy="923330"/>
          </a:xfrm>
          <a:prstGeom prst="rect">
            <a:avLst/>
          </a:prstGeom>
        </p:spPr>
        <p:txBody>
          <a:bodyPr wrap="square">
            <a:spAutoFit/>
          </a:bodyPr>
          <a:lstStyle/>
          <a:p>
            <a:r>
              <a:rPr lang="zh-CN" altLang="en-US" dirty="0">
                <a:solidFill>
                  <a:srgbClr val="171717"/>
                </a:solidFill>
                <a:latin typeface="Segoe UI" panose="020B0502040204020203" pitchFamily="34" charset="0"/>
              </a:rPr>
              <a:t>使用量子操作（有时称为量子门）来完成量子比特的初始化和转换。 量子操作类似于经典计算中的逻辑运算，例如 </a:t>
            </a:r>
            <a:r>
              <a:rPr lang="en-US" altLang="zh-CN" dirty="0">
                <a:solidFill>
                  <a:srgbClr val="171717"/>
                </a:solidFill>
                <a:latin typeface="Segoe UI" panose="020B0502040204020203" pitchFamily="34" charset="0"/>
              </a:rPr>
              <a:t>AND</a:t>
            </a:r>
            <a:r>
              <a:rPr lang="zh-CN" altLang="en-US" dirty="0">
                <a:solidFill>
                  <a:srgbClr val="171717"/>
                </a:solidFill>
                <a:latin typeface="Segoe UI" panose="020B0502040204020203" pitchFamily="34" charset="0"/>
              </a:rPr>
              <a:t>、</a:t>
            </a:r>
            <a:r>
              <a:rPr lang="en-US" altLang="zh-CN" dirty="0">
                <a:solidFill>
                  <a:srgbClr val="171717"/>
                </a:solidFill>
                <a:latin typeface="Segoe UI" panose="020B0502040204020203" pitchFamily="34" charset="0"/>
              </a:rPr>
              <a:t>OR</a:t>
            </a:r>
            <a:r>
              <a:rPr lang="zh-CN" altLang="en-US" dirty="0">
                <a:solidFill>
                  <a:srgbClr val="171717"/>
                </a:solidFill>
                <a:latin typeface="Segoe UI" panose="020B0502040204020203" pitchFamily="34" charset="0"/>
              </a:rPr>
              <a:t>、</a:t>
            </a:r>
            <a:r>
              <a:rPr lang="en-US" altLang="zh-CN" dirty="0">
                <a:solidFill>
                  <a:srgbClr val="171717"/>
                </a:solidFill>
                <a:latin typeface="Segoe UI" panose="020B0502040204020203" pitchFamily="34" charset="0"/>
              </a:rPr>
              <a:t>NOT </a:t>
            </a:r>
            <a:r>
              <a:rPr lang="zh-CN" altLang="en-US" dirty="0">
                <a:solidFill>
                  <a:srgbClr val="171717"/>
                </a:solidFill>
                <a:latin typeface="Segoe UI" panose="020B0502040204020203" pitchFamily="34" charset="0"/>
              </a:rPr>
              <a:t>和 </a:t>
            </a:r>
            <a:r>
              <a:rPr lang="en-US" altLang="zh-CN" dirty="0">
                <a:solidFill>
                  <a:srgbClr val="171717"/>
                </a:solidFill>
                <a:latin typeface="Segoe UI" panose="020B0502040204020203" pitchFamily="34" charset="0"/>
              </a:rPr>
              <a:t>XOR</a:t>
            </a:r>
            <a:r>
              <a:rPr lang="zh-CN" altLang="en-US" dirty="0">
                <a:solidFill>
                  <a:srgbClr val="171717"/>
                </a:solidFill>
                <a:latin typeface="Segoe UI" panose="020B0502040204020203" pitchFamily="34" charset="0"/>
              </a:rPr>
              <a:t>。 基本操作可以是将量子比特的状态从 </a:t>
            </a:r>
            <a:r>
              <a:rPr lang="en-US" altLang="zh-CN" dirty="0">
                <a:solidFill>
                  <a:srgbClr val="171717"/>
                </a:solidFill>
                <a:latin typeface="Segoe UI" panose="020B0502040204020203" pitchFamily="34" charset="0"/>
              </a:rPr>
              <a:t>1 </a:t>
            </a:r>
            <a:r>
              <a:rPr lang="zh-CN" altLang="en-US" dirty="0">
                <a:solidFill>
                  <a:srgbClr val="171717"/>
                </a:solidFill>
                <a:latin typeface="Segoe UI" panose="020B0502040204020203" pitchFamily="34" charset="0"/>
              </a:rPr>
              <a:t>翻转为 </a:t>
            </a:r>
            <a:r>
              <a:rPr lang="en-US" altLang="zh-CN" dirty="0">
                <a:solidFill>
                  <a:srgbClr val="171717"/>
                </a:solidFill>
                <a:latin typeface="Segoe UI" panose="020B0502040204020203" pitchFamily="34" charset="0"/>
              </a:rPr>
              <a:t>0 </a:t>
            </a:r>
            <a:r>
              <a:rPr lang="zh-CN" altLang="en-US" dirty="0">
                <a:solidFill>
                  <a:srgbClr val="171717"/>
                </a:solidFill>
                <a:latin typeface="Segoe UI" panose="020B0502040204020203" pitchFamily="34" charset="0"/>
              </a:rPr>
              <a:t>或纠缠一对量子比特，也可以使用一系列串行操作来影响叠加的量子比特坍缩方式的概率</a:t>
            </a:r>
            <a:endParaRPr lang="zh-CN" altLang="en-US" dirty="0"/>
          </a:p>
        </p:txBody>
      </p:sp>
    </p:spTree>
    <p:custDataLst>
      <p:tags r:id="rId1"/>
    </p:custDataLst>
    <p:extLst>
      <p:ext uri="{BB962C8B-B14F-4D97-AF65-F5344CB8AC3E}">
        <p14:creationId xmlns:p14="http://schemas.microsoft.com/office/powerpoint/2010/main" val="4450353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i$ḷíḑê"/>
        <p:cNvGrpSpPr/>
        <p:nvPr/>
      </p:nvGrpSpPr>
      <p:grpSpPr>
        <a:xfrm>
          <a:off x="0" y="0"/>
          <a:ext cx="0" cy="0"/>
          <a:chOff x="0" y="0"/>
          <a:chExt cx="0" cy="0"/>
        </a:xfrm>
      </p:grpSpPr>
      <p:sp>
        <p:nvSpPr>
          <p:cNvPr id="5" name="íšľîḑê"/>
          <p:cNvSpPr>
            <a:spLocks noGrp="1"/>
          </p:cNvSpPr>
          <p:nvPr>
            <p:ph type="title"/>
          </p:nvPr>
        </p:nvSpPr>
        <p:spPr>
          <a:xfrm>
            <a:off x="4751615" y="3380413"/>
            <a:ext cx="5419185" cy="895350"/>
          </a:xfrm>
        </p:spPr>
        <p:txBody>
          <a:bodyPr/>
          <a:lstStyle/>
          <a:p>
            <a:r>
              <a:rPr lang="zh-CN" altLang="en-US" dirty="0"/>
              <a:t>用于量子计算的线性代数</a:t>
            </a:r>
          </a:p>
        </p:txBody>
      </p:sp>
      <p:sp>
        <p:nvSpPr>
          <p:cNvPr id="9" name="iṧḻiḑe">
            <a:extLst>
              <a:ext uri="{FF2B5EF4-FFF2-40B4-BE49-F238E27FC236}">
                <a16:creationId xmlns:a16="http://schemas.microsoft.com/office/drawing/2014/main" id="{04F69230-F3A6-4586-9371-A858F4763E9F}"/>
              </a:ext>
            </a:extLst>
          </p:cNvPr>
          <p:cNvSpPr txBox="1"/>
          <p:nvPr/>
        </p:nvSpPr>
        <p:spPr>
          <a:xfrm>
            <a:off x="4751615" y="1566614"/>
            <a:ext cx="2141996" cy="1862386"/>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a:t>
            </a:r>
            <a:r>
              <a:rPr lang="en-US" altLang="zh-CN" sz="100" spc="100" dirty="0">
                <a:solidFill>
                  <a:schemeClr val="accent1"/>
                </a:solidFill>
                <a:latin typeface="Impact" panose="020B0806030902050204" pitchFamily="34" charset="0"/>
                <a:cs typeface="Arial" panose="020B0604020202020204" pitchFamily="34" charset="0"/>
              </a:rPr>
              <a:t> </a:t>
            </a:r>
            <a:r>
              <a:rPr lang="en-US" altLang="zh-CN" spc="100" dirty="0">
                <a:solidFill>
                  <a:schemeClr val="accent1"/>
                </a:solidFill>
                <a:latin typeface="Impact" panose="020B0806030902050204" pitchFamily="34" charset="0"/>
                <a:cs typeface="Arial" panose="020B0604020202020204" pitchFamily="34" charset="0"/>
              </a:rPr>
              <a:t>04</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2186331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2" name="íṣľiḑe">
            <a:extLst>
              <a:ext uri="{FF2B5EF4-FFF2-40B4-BE49-F238E27FC236}">
                <a16:creationId xmlns:a16="http://schemas.microsoft.com/office/drawing/2014/main" id="{8AC4395B-A0A0-4D81-B628-E4F9AB374736}"/>
              </a:ext>
            </a:extLst>
          </p:cNvPr>
          <p:cNvSpPr>
            <a:spLocks noGrp="1"/>
          </p:cNvSpPr>
          <p:nvPr>
            <p:ph type="title"/>
          </p:nvPr>
        </p:nvSpPr>
        <p:spPr/>
        <p:txBody>
          <a:bodyPr>
            <a:normAutofit/>
          </a:bodyPr>
          <a:lstStyle/>
          <a:p>
            <a:pPr lvl="0"/>
            <a:r>
              <a:rPr lang="zh-CN" altLang="en-US" dirty="0"/>
              <a:t>量子计算中的向量和矩阵</a:t>
            </a:r>
          </a:p>
        </p:txBody>
      </p:sp>
      <p:sp>
        <p:nvSpPr>
          <p:cNvPr id="4" name="ïṩḷidê">
            <a:extLst>
              <a:ext uri="{FF2B5EF4-FFF2-40B4-BE49-F238E27FC236}">
                <a16:creationId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17</a:t>
            </a:fld>
            <a:endParaRPr lang="zh-CN" altLang="en-US"/>
          </a:p>
        </p:txBody>
      </p:sp>
      <mc:AlternateContent xmlns:mc="http://schemas.openxmlformats.org/markup-compatibility/2006" xmlns:a14="http://schemas.microsoft.com/office/drawing/2010/main">
        <mc:Choice Requires="a14">
          <p:sp>
            <p:nvSpPr>
              <p:cNvPr id="5" name="矩形 4"/>
              <p:cNvSpPr/>
              <p:nvPr/>
            </p:nvSpPr>
            <p:spPr>
              <a:xfrm>
                <a:off x="669923" y="2386291"/>
                <a:ext cx="10850563" cy="2496581"/>
              </a:xfrm>
              <a:prstGeom prst="rect">
                <a:avLst/>
              </a:prstGeom>
            </p:spPr>
            <p:txBody>
              <a:bodyPr wrap="square">
                <a:spAutoFit/>
              </a:bodyPr>
              <a:lstStyle/>
              <a:p>
                <a:r>
                  <a:rPr lang="zh-CN" altLang="en-US" dirty="0">
                    <a:solidFill>
                      <a:srgbClr val="171717"/>
                    </a:solidFill>
                    <a:latin typeface="Segoe UI" panose="020B0502040204020203" pitchFamily="34" charset="0"/>
                  </a:rPr>
                  <a:t>量子比特的状态可以为 </a:t>
                </a:r>
                <a:r>
                  <a:rPr lang="en-US" altLang="zh-CN" dirty="0">
                    <a:solidFill>
                      <a:srgbClr val="171717"/>
                    </a:solidFill>
                    <a:latin typeface="Segoe UI" panose="020B0502040204020203" pitchFamily="34" charset="0"/>
                  </a:rPr>
                  <a:t>1 </a:t>
                </a:r>
                <a:r>
                  <a:rPr lang="zh-CN" altLang="en-US" dirty="0">
                    <a:solidFill>
                      <a:srgbClr val="171717"/>
                    </a:solidFill>
                    <a:latin typeface="Segoe UI" panose="020B0502040204020203" pitchFamily="34" charset="0"/>
                  </a:rPr>
                  <a:t>或 </a:t>
                </a:r>
                <a:r>
                  <a:rPr lang="en-US" altLang="zh-CN" dirty="0">
                    <a:solidFill>
                      <a:srgbClr val="171717"/>
                    </a:solidFill>
                    <a:latin typeface="Segoe UI" panose="020B0502040204020203" pitchFamily="34" charset="0"/>
                  </a:rPr>
                  <a:t>0</a:t>
                </a:r>
                <a:r>
                  <a:rPr lang="zh-CN" altLang="en-US" dirty="0">
                    <a:solidFill>
                      <a:srgbClr val="171717"/>
                    </a:solidFill>
                    <a:latin typeface="Segoe UI" panose="020B0502040204020203" pitchFamily="34" charset="0"/>
                  </a:rPr>
                  <a:t>，或者其中一个或这两者的各种叠加态。 使用线性代数，可将量子比特的状态描述为向量，并由单列矩阵</a:t>
                </a:r>
                <a14:m>
                  <m:oMath xmlns:m="http://schemas.openxmlformats.org/officeDocument/2006/math">
                    <m:d>
                      <m:dPr>
                        <m:begChr m:val="["/>
                        <m:endChr m:val="]"/>
                        <m:ctrlPr>
                          <a:rPr lang="en-US" altLang="zh-CN" i="1" smtClean="0">
                            <a:solidFill>
                              <a:srgbClr val="171717"/>
                            </a:solidFill>
                            <a:latin typeface="Cambria Math" panose="02040503050406030204" pitchFamily="18" charset="0"/>
                          </a:rPr>
                        </m:ctrlPr>
                      </m:dPr>
                      <m:e>
                        <m:m>
                          <m:mPr>
                            <m:mcs>
                              <m:mc>
                                <m:mcPr>
                                  <m:count m:val="1"/>
                                  <m:mcJc m:val="center"/>
                                </m:mcPr>
                              </m:mc>
                            </m:mcs>
                            <m:ctrlPr>
                              <a:rPr lang="en-US" altLang="zh-CN" i="1" smtClean="0">
                                <a:solidFill>
                                  <a:srgbClr val="171717"/>
                                </a:solidFill>
                                <a:latin typeface="Cambria Math" panose="02040503050406030204" pitchFamily="18" charset="0"/>
                              </a:rPr>
                            </m:ctrlPr>
                          </m:mPr>
                          <m:mr>
                            <m:e>
                              <m:r>
                                <m:rPr>
                                  <m:brk m:alnAt="7"/>
                                </m:rPr>
                                <a:rPr lang="en-US" altLang="zh-CN" b="0" i="1" smtClean="0">
                                  <a:solidFill>
                                    <a:srgbClr val="171717"/>
                                  </a:solidFill>
                                  <a:latin typeface="Cambria Math" panose="02040503050406030204" pitchFamily="18" charset="0"/>
                                </a:rPr>
                                <m:t>𝑎</m:t>
                              </m:r>
                            </m:e>
                          </m:mr>
                          <m:mr>
                            <m:e>
                              <m:r>
                                <a:rPr lang="en-US" altLang="zh-CN" b="0" i="1" smtClean="0">
                                  <a:solidFill>
                                    <a:srgbClr val="171717"/>
                                  </a:solidFill>
                                  <a:latin typeface="Cambria Math" panose="02040503050406030204" pitchFamily="18" charset="0"/>
                                </a:rPr>
                                <m:t>𝑏</m:t>
                              </m:r>
                            </m:e>
                          </m:mr>
                        </m:m>
                      </m:e>
                    </m:d>
                  </m:oMath>
                </a14:m>
                <a:r>
                  <a:rPr lang="zh-CN" altLang="en-US" dirty="0">
                    <a:solidFill>
                      <a:srgbClr val="171717"/>
                    </a:solidFill>
                    <a:latin typeface="Segoe UI" panose="020B0502040204020203" pitchFamily="34" charset="0"/>
                  </a:rPr>
                  <a:t>表示。 它也称为量子状态向量，并且必须满足</a:t>
                </a:r>
                <a14:m>
                  <m:oMath xmlns:m="http://schemas.openxmlformats.org/officeDocument/2006/math">
                    <m:sSup>
                      <m:sSupPr>
                        <m:ctrlPr>
                          <a:rPr lang="en-US" altLang="zh-CN" i="1" smtClean="0">
                            <a:solidFill>
                              <a:srgbClr val="171717"/>
                            </a:solidFill>
                            <a:latin typeface="Cambria Math" panose="02040503050406030204" pitchFamily="18" charset="0"/>
                          </a:rPr>
                        </m:ctrlPr>
                      </m:sSupPr>
                      <m:e>
                        <m:d>
                          <m:dPr>
                            <m:begChr m:val="|"/>
                            <m:endChr m:val="|"/>
                            <m:ctrlPr>
                              <a:rPr lang="en-US" altLang="zh-CN" i="1" smtClean="0">
                                <a:solidFill>
                                  <a:srgbClr val="171717"/>
                                </a:solidFill>
                                <a:latin typeface="Cambria Math" panose="02040503050406030204" pitchFamily="18" charset="0"/>
                              </a:rPr>
                            </m:ctrlPr>
                          </m:dPr>
                          <m:e>
                            <m:r>
                              <a:rPr lang="en-US" altLang="zh-CN" b="0" i="1" smtClean="0">
                                <a:solidFill>
                                  <a:srgbClr val="171717"/>
                                </a:solidFill>
                                <a:latin typeface="Cambria Math" panose="02040503050406030204" pitchFamily="18" charset="0"/>
                              </a:rPr>
                              <m:t>𝑎</m:t>
                            </m:r>
                          </m:e>
                        </m:d>
                      </m:e>
                      <m:sup>
                        <m:r>
                          <a:rPr lang="en-US" altLang="zh-CN" b="0" i="1" smtClean="0">
                            <a:solidFill>
                              <a:srgbClr val="171717"/>
                            </a:solidFill>
                            <a:latin typeface="Cambria Math" panose="02040503050406030204" pitchFamily="18" charset="0"/>
                          </a:rPr>
                          <m:t>2</m:t>
                        </m:r>
                      </m:sup>
                    </m:sSup>
                    <m:r>
                      <a:rPr lang="en-US" altLang="zh-CN" b="0" i="1" smtClean="0">
                        <a:solidFill>
                          <a:srgbClr val="171717"/>
                        </a:solidFill>
                        <a:latin typeface="Cambria Math" panose="02040503050406030204" pitchFamily="18" charset="0"/>
                      </a:rPr>
                      <m:t>+</m:t>
                    </m:r>
                    <m:sSup>
                      <m:sSupPr>
                        <m:ctrlPr>
                          <a:rPr lang="en-US" altLang="zh-CN" i="1" smtClean="0">
                            <a:solidFill>
                              <a:srgbClr val="171717"/>
                            </a:solidFill>
                            <a:latin typeface="Cambria Math" panose="02040503050406030204" pitchFamily="18" charset="0"/>
                          </a:rPr>
                        </m:ctrlPr>
                      </m:sSupPr>
                      <m:e>
                        <m:d>
                          <m:dPr>
                            <m:begChr m:val="|"/>
                            <m:endChr m:val="|"/>
                            <m:ctrlPr>
                              <a:rPr lang="en-US" altLang="zh-CN" i="1">
                                <a:solidFill>
                                  <a:srgbClr val="171717"/>
                                </a:solidFill>
                                <a:latin typeface="Cambria Math" panose="02040503050406030204" pitchFamily="18" charset="0"/>
                              </a:rPr>
                            </m:ctrlPr>
                          </m:dPr>
                          <m:e>
                            <m:r>
                              <a:rPr lang="en-US" altLang="zh-CN" b="0" i="1" smtClean="0">
                                <a:solidFill>
                                  <a:srgbClr val="171717"/>
                                </a:solidFill>
                                <a:latin typeface="Cambria Math" panose="02040503050406030204" pitchFamily="18" charset="0"/>
                              </a:rPr>
                              <m:t>𝑏</m:t>
                            </m:r>
                          </m:e>
                        </m:d>
                      </m:e>
                      <m:sup>
                        <m:r>
                          <a:rPr lang="en-US" altLang="zh-CN" i="1">
                            <a:solidFill>
                              <a:srgbClr val="171717"/>
                            </a:solidFill>
                            <a:latin typeface="Cambria Math" panose="02040503050406030204" pitchFamily="18" charset="0"/>
                          </a:rPr>
                          <m:t>2</m:t>
                        </m:r>
                      </m:sup>
                    </m:sSup>
                    <m:r>
                      <a:rPr lang="en-US" altLang="zh-CN" b="0" i="1" smtClean="0">
                        <a:solidFill>
                          <a:srgbClr val="171717"/>
                        </a:solidFill>
                        <a:latin typeface="Cambria Math" panose="02040503050406030204" pitchFamily="18" charset="0"/>
                      </a:rPr>
                      <m:t>=1</m:t>
                    </m:r>
                  </m:oMath>
                </a14:m>
                <a:r>
                  <a:rPr lang="zh-CN" altLang="en-US" dirty="0">
                    <a:solidFill>
                      <a:srgbClr val="171717"/>
                    </a:solidFill>
                    <a:latin typeface="Segoe UI" panose="020B0502040204020203" pitchFamily="34" charset="0"/>
                  </a:rPr>
                  <a:t>的要求</a:t>
                </a:r>
                <a:endParaRPr lang="en-US" altLang="zh-CN" dirty="0">
                  <a:solidFill>
                    <a:srgbClr val="171717"/>
                  </a:solidFill>
                  <a:latin typeface="Segoe UI" panose="020B0502040204020203" pitchFamily="34" charset="0"/>
                </a:endParaRPr>
              </a:p>
              <a:p>
                <a:endParaRPr lang="zh-CN" altLang="en-US" dirty="0">
                  <a:solidFill>
                    <a:srgbClr val="171717"/>
                  </a:solidFill>
                  <a:latin typeface="Segoe UI" panose="020B0502040204020203" pitchFamily="34" charset="0"/>
                </a:endParaRPr>
              </a:p>
              <a:p>
                <a:r>
                  <a:rPr lang="zh-CN" altLang="en-US" dirty="0">
                    <a:solidFill>
                      <a:srgbClr val="171717"/>
                    </a:solidFill>
                    <a:latin typeface="Segoe UI" panose="020B0502040204020203" pitchFamily="34" charset="0"/>
                  </a:rPr>
                  <a:t>矩阵的元素表示量子比特坍缩方式的概率，其中</a:t>
                </a:r>
                <a14:m>
                  <m:oMath xmlns:m="http://schemas.openxmlformats.org/officeDocument/2006/math">
                    <m:sSup>
                      <m:sSupPr>
                        <m:ctrlPr>
                          <a:rPr lang="en-US" altLang="zh-CN" i="1">
                            <a:solidFill>
                              <a:srgbClr val="171717"/>
                            </a:solidFill>
                            <a:latin typeface="Cambria Math" panose="02040503050406030204" pitchFamily="18" charset="0"/>
                          </a:rPr>
                        </m:ctrlPr>
                      </m:sSupPr>
                      <m:e>
                        <m:d>
                          <m:dPr>
                            <m:begChr m:val="|"/>
                            <m:endChr m:val="|"/>
                            <m:ctrlPr>
                              <a:rPr lang="en-US" altLang="zh-CN" i="1">
                                <a:solidFill>
                                  <a:srgbClr val="171717"/>
                                </a:solidFill>
                                <a:latin typeface="Cambria Math" panose="02040503050406030204" pitchFamily="18" charset="0"/>
                              </a:rPr>
                            </m:ctrlPr>
                          </m:dPr>
                          <m:e>
                            <m:r>
                              <a:rPr lang="en-US" altLang="zh-CN" i="1">
                                <a:solidFill>
                                  <a:srgbClr val="171717"/>
                                </a:solidFill>
                                <a:latin typeface="Cambria Math" panose="02040503050406030204" pitchFamily="18" charset="0"/>
                              </a:rPr>
                              <m:t>𝑎</m:t>
                            </m:r>
                          </m:e>
                        </m:d>
                      </m:e>
                      <m:sup>
                        <m:r>
                          <a:rPr lang="en-US" altLang="zh-CN" i="1">
                            <a:solidFill>
                              <a:srgbClr val="171717"/>
                            </a:solidFill>
                            <a:latin typeface="Cambria Math" panose="02040503050406030204" pitchFamily="18" charset="0"/>
                          </a:rPr>
                          <m:t>2</m:t>
                        </m:r>
                      </m:sup>
                    </m:sSup>
                  </m:oMath>
                </a14:m>
                <a:r>
                  <a:rPr lang="zh-CN" altLang="en-US" dirty="0">
                    <a:solidFill>
                      <a:srgbClr val="171717"/>
                    </a:solidFill>
                    <a:latin typeface="Segoe UI" panose="020B0502040204020203" pitchFamily="34" charset="0"/>
                  </a:rPr>
                  <a:t>是坍缩为零的概率，而</a:t>
                </a:r>
                <a14:m>
                  <m:oMath xmlns:m="http://schemas.openxmlformats.org/officeDocument/2006/math">
                    <m:sSup>
                      <m:sSupPr>
                        <m:ctrlPr>
                          <a:rPr lang="en-US" altLang="zh-CN" i="1">
                            <a:solidFill>
                              <a:srgbClr val="171717"/>
                            </a:solidFill>
                            <a:latin typeface="Cambria Math" panose="02040503050406030204" pitchFamily="18" charset="0"/>
                          </a:rPr>
                        </m:ctrlPr>
                      </m:sSupPr>
                      <m:e>
                        <m:d>
                          <m:dPr>
                            <m:begChr m:val="|"/>
                            <m:endChr m:val="|"/>
                            <m:ctrlPr>
                              <a:rPr lang="en-US" altLang="zh-CN" i="1">
                                <a:solidFill>
                                  <a:srgbClr val="171717"/>
                                </a:solidFill>
                                <a:latin typeface="Cambria Math" panose="02040503050406030204" pitchFamily="18" charset="0"/>
                              </a:rPr>
                            </m:ctrlPr>
                          </m:dPr>
                          <m:e>
                            <m:r>
                              <a:rPr lang="en-US" altLang="zh-CN" i="1">
                                <a:solidFill>
                                  <a:srgbClr val="171717"/>
                                </a:solidFill>
                                <a:latin typeface="Cambria Math" panose="02040503050406030204" pitchFamily="18" charset="0"/>
                              </a:rPr>
                              <m:t>𝑏</m:t>
                            </m:r>
                          </m:e>
                        </m:d>
                      </m:e>
                      <m:sup>
                        <m:r>
                          <a:rPr lang="en-US" altLang="zh-CN" i="1">
                            <a:solidFill>
                              <a:srgbClr val="171717"/>
                            </a:solidFill>
                            <a:latin typeface="Cambria Math" panose="02040503050406030204" pitchFamily="18" charset="0"/>
                          </a:rPr>
                          <m:t>2</m:t>
                        </m:r>
                      </m:sup>
                    </m:sSup>
                  </m:oMath>
                </a14:m>
                <a:r>
                  <a:rPr lang="zh-CN" altLang="en-US" dirty="0">
                    <a:solidFill>
                      <a:srgbClr val="171717"/>
                    </a:solidFill>
                    <a:latin typeface="Segoe UI" panose="020B0502040204020203" pitchFamily="34" charset="0"/>
                  </a:rPr>
                  <a:t>是坍缩为 </a:t>
                </a:r>
                <a:r>
                  <a:rPr lang="en-US" altLang="zh-CN" dirty="0">
                    <a:solidFill>
                      <a:srgbClr val="171717"/>
                    </a:solidFill>
                    <a:latin typeface="Segoe UI" panose="020B0502040204020203" pitchFamily="34" charset="0"/>
                  </a:rPr>
                  <a:t>1 </a:t>
                </a:r>
                <a:r>
                  <a:rPr lang="zh-CN" altLang="en-US" dirty="0">
                    <a:solidFill>
                      <a:srgbClr val="171717"/>
                    </a:solidFill>
                    <a:latin typeface="Segoe UI" panose="020B0502040204020203" pitchFamily="34" charset="0"/>
                  </a:rPr>
                  <a:t>的概率。 以下矩阵均表示有效的量子状态向量：</a:t>
                </a:r>
                <a:endParaRPr lang="en-US" altLang="zh-CN" dirty="0">
                  <a:solidFill>
                    <a:srgbClr val="171717"/>
                  </a:solidFill>
                  <a:latin typeface="Segoe UI" panose="020B0502040204020203" pitchFamily="34" charset="0"/>
                </a:endParaRPr>
              </a:p>
              <a:p>
                <a:pPr algn="ctr"/>
                <a14:m>
                  <m:oMath xmlns:m="http://schemas.openxmlformats.org/officeDocument/2006/math">
                    <m:d>
                      <m:dPr>
                        <m:begChr m:val="["/>
                        <m:endChr m:val="]"/>
                        <m:ctrlPr>
                          <a:rPr lang="en-US" altLang="zh-CN" i="1">
                            <a:solidFill>
                              <a:srgbClr val="171717"/>
                            </a:solidFill>
                            <a:latin typeface="Cambria Math" panose="02040503050406030204" pitchFamily="18" charset="0"/>
                          </a:rPr>
                        </m:ctrlPr>
                      </m:dPr>
                      <m:e>
                        <m:m>
                          <m:mPr>
                            <m:mcs>
                              <m:mc>
                                <m:mcPr>
                                  <m:count m:val="1"/>
                                  <m:mcJc m:val="center"/>
                                </m:mcPr>
                              </m:mc>
                            </m:mcs>
                            <m:ctrlPr>
                              <a:rPr lang="en-US" altLang="zh-CN" i="1">
                                <a:solidFill>
                                  <a:srgbClr val="171717"/>
                                </a:solidFill>
                                <a:latin typeface="Cambria Math" panose="02040503050406030204" pitchFamily="18" charset="0"/>
                              </a:rPr>
                            </m:ctrlPr>
                          </m:mPr>
                          <m:mr>
                            <m:e>
                              <m:r>
                                <m:rPr>
                                  <m:brk m:alnAt="7"/>
                                </m:rPr>
                                <a:rPr lang="en-US" altLang="zh-CN" b="0" i="1" smtClean="0">
                                  <a:solidFill>
                                    <a:srgbClr val="171717"/>
                                  </a:solidFill>
                                  <a:latin typeface="Cambria Math" panose="02040503050406030204" pitchFamily="18" charset="0"/>
                                </a:rPr>
                                <m:t>1</m:t>
                              </m:r>
                            </m:e>
                          </m:mr>
                          <m:mr>
                            <m:e>
                              <m:r>
                                <a:rPr lang="en-US" altLang="zh-CN" b="0" i="1" smtClean="0">
                                  <a:solidFill>
                                    <a:srgbClr val="171717"/>
                                  </a:solidFill>
                                  <a:latin typeface="Cambria Math" panose="02040503050406030204" pitchFamily="18" charset="0"/>
                                </a:rPr>
                                <m:t>0</m:t>
                              </m:r>
                            </m:e>
                          </m:mr>
                        </m:m>
                      </m:e>
                    </m:d>
                  </m:oMath>
                </a14:m>
                <a:r>
                  <a:rPr lang="en-US" altLang="zh-CN" dirty="0">
                    <a:solidFill>
                      <a:srgbClr val="171717"/>
                    </a:solidFill>
                    <a:latin typeface="Segoe UI" panose="020B0502040204020203" pitchFamily="34" charset="0"/>
                  </a:rPr>
                  <a:t>, </a:t>
                </a:r>
                <a14:m>
                  <m:oMath xmlns:m="http://schemas.openxmlformats.org/officeDocument/2006/math">
                    <m:d>
                      <m:dPr>
                        <m:begChr m:val="["/>
                        <m:endChr m:val="]"/>
                        <m:ctrlPr>
                          <a:rPr lang="en-US" altLang="zh-CN" i="1">
                            <a:solidFill>
                              <a:srgbClr val="171717"/>
                            </a:solidFill>
                            <a:latin typeface="Cambria Math" panose="02040503050406030204" pitchFamily="18" charset="0"/>
                          </a:rPr>
                        </m:ctrlPr>
                      </m:dPr>
                      <m:e>
                        <m:m>
                          <m:mPr>
                            <m:mcs>
                              <m:mc>
                                <m:mcPr>
                                  <m:count m:val="1"/>
                                  <m:mcJc m:val="center"/>
                                </m:mcPr>
                              </m:mc>
                            </m:mcs>
                            <m:ctrlPr>
                              <a:rPr lang="en-US" altLang="zh-CN" i="1">
                                <a:solidFill>
                                  <a:srgbClr val="171717"/>
                                </a:solidFill>
                                <a:latin typeface="Cambria Math" panose="02040503050406030204" pitchFamily="18" charset="0"/>
                              </a:rPr>
                            </m:ctrlPr>
                          </m:mPr>
                          <m:mr>
                            <m:e>
                              <m:r>
                                <m:rPr>
                                  <m:brk m:alnAt="7"/>
                                </m:rPr>
                                <a:rPr lang="en-US" altLang="zh-CN" b="0" i="1" smtClean="0">
                                  <a:solidFill>
                                    <a:srgbClr val="171717"/>
                                  </a:solidFill>
                                  <a:latin typeface="Cambria Math" panose="02040503050406030204" pitchFamily="18" charset="0"/>
                                </a:rPr>
                                <m:t>0</m:t>
                              </m:r>
                            </m:e>
                          </m:mr>
                          <m:mr>
                            <m:e>
                              <m:r>
                                <a:rPr lang="en-US" altLang="zh-CN" b="0" i="1" smtClean="0">
                                  <a:solidFill>
                                    <a:srgbClr val="171717"/>
                                  </a:solidFill>
                                  <a:latin typeface="Cambria Math" panose="02040503050406030204" pitchFamily="18" charset="0"/>
                                </a:rPr>
                                <m:t>1</m:t>
                              </m:r>
                            </m:e>
                          </m:mr>
                        </m:m>
                      </m:e>
                    </m:d>
                  </m:oMath>
                </a14:m>
                <a:r>
                  <a:rPr lang="en-US" altLang="zh-CN" dirty="0">
                    <a:solidFill>
                      <a:srgbClr val="171717"/>
                    </a:solidFill>
                    <a:latin typeface="Segoe UI" panose="020B0502040204020203" pitchFamily="34" charset="0"/>
                  </a:rPr>
                  <a:t>, </a:t>
                </a:r>
                <a14:m>
                  <m:oMath xmlns:m="http://schemas.openxmlformats.org/officeDocument/2006/math">
                    <m:d>
                      <m:dPr>
                        <m:begChr m:val="["/>
                        <m:endChr m:val="]"/>
                        <m:ctrlPr>
                          <a:rPr lang="en-US" altLang="zh-CN" i="1">
                            <a:solidFill>
                              <a:srgbClr val="171717"/>
                            </a:solidFill>
                            <a:latin typeface="Cambria Math" panose="02040503050406030204" pitchFamily="18" charset="0"/>
                          </a:rPr>
                        </m:ctrlPr>
                      </m:dPr>
                      <m:e>
                        <m:m>
                          <m:mPr>
                            <m:mcs>
                              <m:mc>
                                <m:mcPr>
                                  <m:count m:val="1"/>
                                  <m:mcJc m:val="center"/>
                                </m:mcPr>
                              </m:mc>
                            </m:mcs>
                            <m:ctrlPr>
                              <a:rPr lang="en-US" altLang="zh-CN" i="1">
                                <a:solidFill>
                                  <a:srgbClr val="171717"/>
                                </a:solidFill>
                                <a:latin typeface="Cambria Math" panose="02040503050406030204" pitchFamily="18" charset="0"/>
                              </a:rPr>
                            </m:ctrlPr>
                          </m:mPr>
                          <m:mr>
                            <m:e>
                              <m:f>
                                <m:fPr>
                                  <m:ctrlPr>
                                    <a:rPr lang="en-US" altLang="zh-CN" i="1" smtClean="0">
                                      <a:solidFill>
                                        <a:srgbClr val="171717"/>
                                      </a:solidFill>
                                      <a:latin typeface="Cambria Math" panose="02040503050406030204" pitchFamily="18" charset="0"/>
                                    </a:rPr>
                                  </m:ctrlPr>
                                </m:fPr>
                                <m:num>
                                  <m:r>
                                    <a:rPr lang="en-US" altLang="zh-CN" i="1">
                                      <a:solidFill>
                                        <a:srgbClr val="171717"/>
                                      </a:solidFill>
                                      <a:latin typeface="Cambria Math" panose="02040503050406030204" pitchFamily="18" charset="0"/>
                                    </a:rPr>
                                    <m:t>1</m:t>
                                  </m:r>
                                </m:num>
                                <m:den>
                                  <m:rad>
                                    <m:radPr>
                                      <m:degHide m:val="on"/>
                                      <m:ctrlPr>
                                        <a:rPr lang="en-US" altLang="zh-CN" i="1">
                                          <a:solidFill>
                                            <a:srgbClr val="171717"/>
                                          </a:solidFill>
                                          <a:latin typeface="Cambria Math" panose="02040503050406030204" pitchFamily="18" charset="0"/>
                                        </a:rPr>
                                      </m:ctrlPr>
                                    </m:radPr>
                                    <m:deg/>
                                    <m:e>
                                      <m:r>
                                        <a:rPr lang="en-US" altLang="zh-CN" b="0" i="1" smtClean="0">
                                          <a:solidFill>
                                            <a:srgbClr val="171717"/>
                                          </a:solidFill>
                                          <a:latin typeface="Cambria Math" panose="02040503050406030204" pitchFamily="18" charset="0"/>
                                        </a:rPr>
                                        <m:t>2</m:t>
                                      </m:r>
                                    </m:e>
                                  </m:rad>
                                </m:den>
                              </m:f>
                            </m:e>
                          </m:mr>
                          <m:mr>
                            <m:e>
                              <m:f>
                                <m:fPr>
                                  <m:ctrlPr>
                                    <a:rPr lang="en-US" altLang="zh-CN" i="1">
                                      <a:solidFill>
                                        <a:srgbClr val="171717"/>
                                      </a:solidFill>
                                      <a:latin typeface="Cambria Math" panose="02040503050406030204" pitchFamily="18" charset="0"/>
                                    </a:rPr>
                                  </m:ctrlPr>
                                </m:fPr>
                                <m:num>
                                  <m:r>
                                    <a:rPr lang="en-US" altLang="zh-CN" i="1">
                                      <a:solidFill>
                                        <a:srgbClr val="171717"/>
                                      </a:solidFill>
                                      <a:latin typeface="Cambria Math" panose="02040503050406030204" pitchFamily="18" charset="0"/>
                                    </a:rPr>
                                    <m:t>1</m:t>
                                  </m:r>
                                </m:num>
                                <m:den>
                                  <m:rad>
                                    <m:radPr>
                                      <m:degHide m:val="on"/>
                                      <m:ctrlPr>
                                        <a:rPr lang="en-US" altLang="zh-CN" i="1">
                                          <a:solidFill>
                                            <a:srgbClr val="171717"/>
                                          </a:solidFill>
                                          <a:latin typeface="Cambria Math" panose="02040503050406030204" pitchFamily="18" charset="0"/>
                                        </a:rPr>
                                      </m:ctrlPr>
                                    </m:radPr>
                                    <m:deg/>
                                    <m:e>
                                      <m:r>
                                        <a:rPr lang="en-US" altLang="zh-CN" i="1">
                                          <a:solidFill>
                                            <a:srgbClr val="171717"/>
                                          </a:solidFill>
                                          <a:latin typeface="Cambria Math" panose="02040503050406030204" pitchFamily="18" charset="0"/>
                                        </a:rPr>
                                        <m:t>2</m:t>
                                      </m:r>
                                    </m:e>
                                  </m:rad>
                                </m:den>
                              </m:f>
                            </m:e>
                          </m:mr>
                        </m:m>
                      </m:e>
                    </m:d>
                  </m:oMath>
                </a14:m>
                <a:r>
                  <a:rPr lang="en-US" altLang="zh-CN" dirty="0">
                    <a:solidFill>
                      <a:srgbClr val="171717"/>
                    </a:solidFill>
                    <a:latin typeface="Segoe UI" panose="020B0502040204020203" pitchFamily="34" charset="0"/>
                  </a:rPr>
                  <a:t>, </a:t>
                </a:r>
                <a14:m>
                  <m:oMath xmlns:m="http://schemas.openxmlformats.org/officeDocument/2006/math">
                    <m:d>
                      <m:dPr>
                        <m:begChr m:val="["/>
                        <m:endChr m:val="]"/>
                        <m:ctrlPr>
                          <a:rPr lang="en-US" altLang="zh-CN" i="1">
                            <a:solidFill>
                              <a:srgbClr val="171717"/>
                            </a:solidFill>
                            <a:latin typeface="Cambria Math" panose="02040503050406030204" pitchFamily="18" charset="0"/>
                          </a:rPr>
                        </m:ctrlPr>
                      </m:dPr>
                      <m:e>
                        <m:m>
                          <m:mPr>
                            <m:mcs>
                              <m:mc>
                                <m:mcPr>
                                  <m:count m:val="1"/>
                                  <m:mcJc m:val="center"/>
                                </m:mcPr>
                              </m:mc>
                            </m:mcs>
                            <m:ctrlPr>
                              <a:rPr lang="en-US" altLang="zh-CN" i="1">
                                <a:solidFill>
                                  <a:srgbClr val="171717"/>
                                </a:solidFill>
                                <a:latin typeface="Cambria Math" panose="02040503050406030204" pitchFamily="18" charset="0"/>
                              </a:rPr>
                            </m:ctrlPr>
                          </m:mPr>
                          <m:mr>
                            <m:e>
                              <m:f>
                                <m:fPr>
                                  <m:ctrlPr>
                                    <a:rPr lang="en-US" altLang="zh-CN" i="1">
                                      <a:solidFill>
                                        <a:srgbClr val="171717"/>
                                      </a:solidFill>
                                      <a:latin typeface="Cambria Math" panose="02040503050406030204" pitchFamily="18" charset="0"/>
                                    </a:rPr>
                                  </m:ctrlPr>
                                </m:fPr>
                                <m:num>
                                  <m:r>
                                    <a:rPr lang="en-US" altLang="zh-CN" i="1">
                                      <a:solidFill>
                                        <a:srgbClr val="171717"/>
                                      </a:solidFill>
                                      <a:latin typeface="Cambria Math" panose="02040503050406030204" pitchFamily="18" charset="0"/>
                                    </a:rPr>
                                    <m:t>1</m:t>
                                  </m:r>
                                </m:num>
                                <m:den>
                                  <m:rad>
                                    <m:radPr>
                                      <m:degHide m:val="on"/>
                                      <m:ctrlPr>
                                        <a:rPr lang="en-US" altLang="zh-CN" i="1">
                                          <a:solidFill>
                                            <a:srgbClr val="171717"/>
                                          </a:solidFill>
                                          <a:latin typeface="Cambria Math" panose="02040503050406030204" pitchFamily="18" charset="0"/>
                                        </a:rPr>
                                      </m:ctrlPr>
                                    </m:radPr>
                                    <m:deg/>
                                    <m:e>
                                      <m:r>
                                        <a:rPr lang="en-US" altLang="zh-CN" i="1">
                                          <a:solidFill>
                                            <a:srgbClr val="171717"/>
                                          </a:solidFill>
                                          <a:latin typeface="Cambria Math" panose="02040503050406030204" pitchFamily="18" charset="0"/>
                                        </a:rPr>
                                        <m:t>2</m:t>
                                      </m:r>
                                    </m:e>
                                  </m:rad>
                                </m:den>
                              </m:f>
                            </m:e>
                          </m:mr>
                          <m:mr>
                            <m:e>
                              <m:f>
                                <m:fPr>
                                  <m:ctrlPr>
                                    <a:rPr lang="en-US" altLang="zh-CN" i="1">
                                      <a:solidFill>
                                        <a:srgbClr val="171717"/>
                                      </a:solidFill>
                                      <a:latin typeface="Cambria Math" panose="02040503050406030204" pitchFamily="18" charset="0"/>
                                    </a:rPr>
                                  </m:ctrlPr>
                                </m:fPr>
                                <m:num>
                                  <m:r>
                                    <a:rPr lang="en-US" altLang="zh-CN" b="0" i="1" smtClean="0">
                                      <a:solidFill>
                                        <a:srgbClr val="171717"/>
                                      </a:solidFill>
                                      <a:latin typeface="Cambria Math" panose="02040503050406030204" pitchFamily="18" charset="0"/>
                                    </a:rPr>
                                    <m:t>−</m:t>
                                  </m:r>
                                  <m:r>
                                    <a:rPr lang="en-US" altLang="zh-CN" i="1">
                                      <a:solidFill>
                                        <a:srgbClr val="171717"/>
                                      </a:solidFill>
                                      <a:latin typeface="Cambria Math" panose="02040503050406030204" pitchFamily="18" charset="0"/>
                                    </a:rPr>
                                    <m:t>1</m:t>
                                  </m:r>
                                </m:num>
                                <m:den>
                                  <m:rad>
                                    <m:radPr>
                                      <m:degHide m:val="on"/>
                                      <m:ctrlPr>
                                        <a:rPr lang="en-US" altLang="zh-CN" i="1">
                                          <a:solidFill>
                                            <a:srgbClr val="171717"/>
                                          </a:solidFill>
                                          <a:latin typeface="Cambria Math" panose="02040503050406030204" pitchFamily="18" charset="0"/>
                                        </a:rPr>
                                      </m:ctrlPr>
                                    </m:radPr>
                                    <m:deg/>
                                    <m:e>
                                      <m:r>
                                        <a:rPr lang="en-US" altLang="zh-CN" i="1">
                                          <a:solidFill>
                                            <a:srgbClr val="171717"/>
                                          </a:solidFill>
                                          <a:latin typeface="Cambria Math" panose="02040503050406030204" pitchFamily="18" charset="0"/>
                                        </a:rPr>
                                        <m:t>2</m:t>
                                      </m:r>
                                    </m:e>
                                  </m:rad>
                                </m:den>
                              </m:f>
                            </m:e>
                          </m:mr>
                        </m:m>
                      </m:e>
                    </m:d>
                  </m:oMath>
                </a14:m>
                <a:r>
                  <a:rPr lang="en-US" altLang="zh-CN" dirty="0">
                    <a:solidFill>
                      <a:srgbClr val="171717"/>
                    </a:solidFill>
                    <a:latin typeface="Segoe UI" panose="020B0502040204020203" pitchFamily="34" charset="0"/>
                  </a:rPr>
                  <a:t>, and </a:t>
                </a:r>
                <a14:m>
                  <m:oMath xmlns:m="http://schemas.openxmlformats.org/officeDocument/2006/math">
                    <m:d>
                      <m:dPr>
                        <m:begChr m:val="["/>
                        <m:endChr m:val="]"/>
                        <m:ctrlPr>
                          <a:rPr lang="en-US" altLang="zh-CN" i="1">
                            <a:solidFill>
                              <a:srgbClr val="171717"/>
                            </a:solidFill>
                            <a:latin typeface="Cambria Math" panose="02040503050406030204" pitchFamily="18" charset="0"/>
                          </a:rPr>
                        </m:ctrlPr>
                      </m:dPr>
                      <m:e>
                        <m:m>
                          <m:mPr>
                            <m:mcs>
                              <m:mc>
                                <m:mcPr>
                                  <m:count m:val="1"/>
                                  <m:mcJc m:val="center"/>
                                </m:mcPr>
                              </m:mc>
                            </m:mcs>
                            <m:ctrlPr>
                              <a:rPr lang="en-US" altLang="zh-CN" i="1">
                                <a:solidFill>
                                  <a:srgbClr val="171717"/>
                                </a:solidFill>
                                <a:latin typeface="Cambria Math" panose="02040503050406030204" pitchFamily="18" charset="0"/>
                              </a:rPr>
                            </m:ctrlPr>
                          </m:mPr>
                          <m:mr>
                            <m:e>
                              <m:f>
                                <m:fPr>
                                  <m:ctrlPr>
                                    <a:rPr lang="en-US" altLang="zh-CN" i="1">
                                      <a:solidFill>
                                        <a:srgbClr val="171717"/>
                                      </a:solidFill>
                                      <a:latin typeface="Cambria Math" panose="02040503050406030204" pitchFamily="18" charset="0"/>
                                    </a:rPr>
                                  </m:ctrlPr>
                                </m:fPr>
                                <m:num>
                                  <m:r>
                                    <a:rPr lang="en-US" altLang="zh-CN" i="1">
                                      <a:solidFill>
                                        <a:srgbClr val="171717"/>
                                      </a:solidFill>
                                      <a:latin typeface="Cambria Math" panose="02040503050406030204" pitchFamily="18" charset="0"/>
                                    </a:rPr>
                                    <m:t>1</m:t>
                                  </m:r>
                                </m:num>
                                <m:den>
                                  <m:rad>
                                    <m:radPr>
                                      <m:degHide m:val="on"/>
                                      <m:ctrlPr>
                                        <a:rPr lang="en-US" altLang="zh-CN" i="1">
                                          <a:solidFill>
                                            <a:srgbClr val="171717"/>
                                          </a:solidFill>
                                          <a:latin typeface="Cambria Math" panose="02040503050406030204" pitchFamily="18" charset="0"/>
                                        </a:rPr>
                                      </m:ctrlPr>
                                    </m:radPr>
                                    <m:deg/>
                                    <m:e>
                                      <m:r>
                                        <a:rPr lang="en-US" altLang="zh-CN" i="1">
                                          <a:solidFill>
                                            <a:srgbClr val="171717"/>
                                          </a:solidFill>
                                          <a:latin typeface="Cambria Math" panose="02040503050406030204" pitchFamily="18" charset="0"/>
                                        </a:rPr>
                                        <m:t>2</m:t>
                                      </m:r>
                                    </m:e>
                                  </m:rad>
                                </m:den>
                              </m:f>
                            </m:e>
                          </m:mr>
                          <m:mr>
                            <m:e>
                              <m:f>
                                <m:fPr>
                                  <m:ctrlPr>
                                    <a:rPr lang="en-US" altLang="zh-CN" i="1">
                                      <a:solidFill>
                                        <a:srgbClr val="171717"/>
                                      </a:solidFill>
                                      <a:latin typeface="Cambria Math" panose="02040503050406030204" pitchFamily="18" charset="0"/>
                                    </a:rPr>
                                  </m:ctrlPr>
                                </m:fPr>
                                <m:num>
                                  <m:r>
                                    <a:rPr lang="en-US" altLang="zh-CN" b="0" i="1" smtClean="0">
                                      <a:solidFill>
                                        <a:srgbClr val="171717"/>
                                      </a:solidFill>
                                      <a:latin typeface="Cambria Math" panose="02040503050406030204" pitchFamily="18" charset="0"/>
                                    </a:rPr>
                                    <m:t>𝑖</m:t>
                                  </m:r>
                                </m:num>
                                <m:den>
                                  <m:rad>
                                    <m:radPr>
                                      <m:degHide m:val="on"/>
                                      <m:ctrlPr>
                                        <a:rPr lang="en-US" altLang="zh-CN" i="1">
                                          <a:solidFill>
                                            <a:srgbClr val="171717"/>
                                          </a:solidFill>
                                          <a:latin typeface="Cambria Math" panose="02040503050406030204" pitchFamily="18" charset="0"/>
                                        </a:rPr>
                                      </m:ctrlPr>
                                    </m:radPr>
                                    <m:deg/>
                                    <m:e>
                                      <m:r>
                                        <a:rPr lang="en-US" altLang="zh-CN" i="1">
                                          <a:solidFill>
                                            <a:srgbClr val="171717"/>
                                          </a:solidFill>
                                          <a:latin typeface="Cambria Math" panose="02040503050406030204" pitchFamily="18" charset="0"/>
                                        </a:rPr>
                                        <m:t>2</m:t>
                                      </m:r>
                                    </m:e>
                                  </m:rad>
                                </m:den>
                              </m:f>
                            </m:e>
                          </m:mr>
                        </m:m>
                      </m:e>
                    </m:d>
                  </m:oMath>
                </a14:m>
                <a:endParaRPr lang="zh-CN" altLang="en-US" dirty="0">
                  <a:solidFill>
                    <a:srgbClr val="171717"/>
                  </a:solidFill>
                  <a:latin typeface="Segoe UI" panose="020B0502040204020203" pitchFamily="34" charset="0"/>
                </a:endParaRPr>
              </a:p>
            </p:txBody>
          </p:sp>
        </mc:Choice>
        <mc:Fallback xmlns="">
          <p:sp>
            <p:nvSpPr>
              <p:cNvPr id="5" name="矩形 4"/>
              <p:cNvSpPr>
                <a:spLocks noRot="1" noChangeAspect="1" noMove="1" noResize="1" noEditPoints="1" noAdjustHandles="1" noChangeArrowheads="1" noChangeShapeType="1" noTextEdit="1"/>
              </p:cNvSpPr>
              <p:nvPr/>
            </p:nvSpPr>
            <p:spPr>
              <a:xfrm>
                <a:off x="669923" y="2386291"/>
                <a:ext cx="10850563" cy="2496581"/>
              </a:xfrm>
              <a:prstGeom prst="rect">
                <a:avLst/>
              </a:prstGeom>
              <a:blipFill>
                <a:blip r:embed="rId3"/>
                <a:stretch>
                  <a:fillRect l="-506" t="-1220"/>
                </a:stretch>
              </a:blipFill>
            </p:spPr>
            <p:txBody>
              <a:bodyPr/>
              <a:lstStyle/>
              <a:p>
                <a:r>
                  <a:rPr lang="zh-CN" altLang="en-US">
                    <a:noFill/>
                  </a:rPr>
                  <a:t> </a:t>
                </a:r>
              </a:p>
            </p:txBody>
          </p:sp>
        </mc:Fallback>
      </mc:AlternateContent>
    </p:spTree>
    <p:custDataLst>
      <p:tags r:id="rId1"/>
    </p:custDataLst>
    <p:extLst>
      <p:ext uri="{BB962C8B-B14F-4D97-AF65-F5344CB8AC3E}">
        <p14:creationId xmlns:p14="http://schemas.microsoft.com/office/powerpoint/2010/main" val="6451087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2" name="íṣľiḑe">
            <a:extLst>
              <a:ext uri="{FF2B5EF4-FFF2-40B4-BE49-F238E27FC236}">
                <a16:creationId xmlns:a16="http://schemas.microsoft.com/office/drawing/2014/main" id="{8AC4395B-A0A0-4D81-B628-E4F9AB374736}"/>
              </a:ext>
            </a:extLst>
          </p:cNvPr>
          <p:cNvSpPr>
            <a:spLocks noGrp="1"/>
          </p:cNvSpPr>
          <p:nvPr>
            <p:ph type="title"/>
          </p:nvPr>
        </p:nvSpPr>
        <p:spPr/>
        <p:txBody>
          <a:bodyPr>
            <a:normAutofit/>
          </a:bodyPr>
          <a:lstStyle/>
          <a:p>
            <a:pPr lvl="0"/>
            <a:r>
              <a:rPr lang="zh-CN" altLang="en-US" dirty="0"/>
              <a:t>量子计算中的向量和矩阵</a:t>
            </a:r>
          </a:p>
        </p:txBody>
      </p:sp>
      <p:sp>
        <p:nvSpPr>
          <p:cNvPr id="4" name="ïṩḷidê">
            <a:extLst>
              <a:ext uri="{FF2B5EF4-FFF2-40B4-BE49-F238E27FC236}">
                <a16:creationId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18</a:t>
            </a:fld>
            <a:endParaRPr lang="zh-CN" altLang="en-US"/>
          </a:p>
        </p:txBody>
      </p:sp>
      <mc:AlternateContent xmlns:mc="http://schemas.openxmlformats.org/markup-compatibility/2006" xmlns:a14="http://schemas.microsoft.com/office/drawing/2010/main">
        <mc:Choice Requires="a14">
          <p:sp>
            <p:nvSpPr>
              <p:cNvPr id="3" name="Rectangle 1"/>
              <p:cNvSpPr>
                <a:spLocks noChangeArrowheads="1"/>
              </p:cNvSpPr>
              <p:nvPr/>
            </p:nvSpPr>
            <p:spPr bwMode="auto">
              <a:xfrm>
                <a:off x="669925" y="1257537"/>
                <a:ext cx="10918696" cy="4545347"/>
              </a:xfrm>
              <a:prstGeom prst="rect">
                <a:avLst/>
              </a:prstGeom>
              <a:solidFill>
                <a:srgbClr val="FFFFFF"/>
              </a:solidFill>
              <a:ln>
                <a:noFill/>
              </a:ln>
              <a:effectLst/>
              <a:extLst>
                <a:ext uri="{91240B29-F687-4F45-9708-019B960494DF}">
                  <a14:hiddenLine w="9525">
                    <a:solidFill>
                      <a:schemeClr val="tx1"/>
                    </a:solidFill>
                    <a:miter lim="800000"/>
                    <a:headEnd/>
                    <a:tailEnd/>
                  </a14:hiddenLine>
                </a:ext>
                <a:ext uri="{AF507438-7753-43E0-B8FC-AC1667EBCBE1}">
                  <a14:hiddenEffect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zh-CN" altLang="zh-CN" dirty="0">
                    <a:solidFill>
                      <a:srgbClr val="171717"/>
                    </a:solidFill>
                    <a:latin typeface="Segoe UI" panose="020B0502040204020203" pitchFamily="34" charset="0"/>
                  </a:rPr>
                  <a:t>量子操作也可以由矩阵表示。 将量子操作应用于量子比特时，代表它们的两个矩阵将相乘，得到的答案表示执行该操作后量子比特的新状态</a:t>
                </a:r>
                <a:endParaRPr lang="en-US" altLang="zh-CN" dirty="0">
                  <a:solidFill>
                    <a:srgbClr val="171717"/>
                  </a:solidFill>
                  <a:latin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zh-CN" altLang="zh-CN" dirty="0">
                  <a:solidFill>
                    <a:srgbClr val="171717"/>
                  </a:solidFill>
                  <a:latin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zh-CN" altLang="zh-CN" dirty="0">
                    <a:solidFill>
                      <a:srgbClr val="171717"/>
                    </a:solidFill>
                    <a:latin typeface="Segoe UI" panose="020B0502040204020203" pitchFamily="34" charset="0"/>
                  </a:rPr>
                  <a:t>下面是用矩阵乘法表示的两个常见的量子操作</a:t>
                </a:r>
                <a:r>
                  <a:rPr lang="zh-CN" altLang="en-US" dirty="0">
                    <a:solidFill>
                      <a:srgbClr val="171717"/>
                    </a:solidFill>
                    <a:latin typeface="Segoe UI" panose="020B0502040204020203" pitchFamily="34" charset="0"/>
                  </a:rPr>
                  <a:t>：</a:t>
                </a:r>
                <a:endParaRPr lang="en-US" altLang="zh-CN" dirty="0">
                  <a:solidFill>
                    <a:srgbClr val="171717"/>
                  </a:solidFill>
                  <a:latin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zh-CN" altLang="zh-CN" dirty="0">
                  <a:solidFill>
                    <a:srgbClr val="171717"/>
                  </a:solidFill>
                  <a:latin typeface="Segoe UI" panose="020B0502040204020203" pitchFamily="34" charset="0"/>
                </a:endParaRPr>
              </a:p>
              <a:p>
                <a:pPr lvl="0"/>
                <a:r>
                  <a:rPr lang="zh-CN" altLang="zh-CN" dirty="0">
                    <a:solidFill>
                      <a:srgbClr val="171717"/>
                    </a:solidFill>
                    <a:latin typeface="Segoe UI" panose="020B0502040204020203" pitchFamily="34" charset="0"/>
                  </a:rPr>
                  <a:t>X 操作</a:t>
                </a:r>
                <a:r>
                  <a:rPr lang="en-US" altLang="zh-CN" dirty="0">
                    <a:solidFill>
                      <a:srgbClr val="171717"/>
                    </a:solidFill>
                    <a:latin typeface="Segoe UI" panose="020B0502040204020203" pitchFamily="34" charset="0"/>
                  </a:rPr>
                  <a:t> </a:t>
                </a:r>
                <a:r>
                  <a:rPr lang="zh-CN" altLang="zh-CN" dirty="0">
                    <a:solidFill>
                      <a:srgbClr val="171717"/>
                    </a:solidFill>
                    <a:latin typeface="Segoe UI" panose="020B0502040204020203" pitchFamily="34" charset="0"/>
                  </a:rPr>
                  <a:t>由 Pauli 矩阵 </a:t>
                </a:r>
                <a:r>
                  <a:rPr lang="zh-CN" altLang="zh-CN" b="1" dirty="0">
                    <a:solidFill>
                      <a:srgbClr val="171717"/>
                    </a:solidFill>
                    <a:latin typeface="Segoe UI" panose="020B0502040204020203" pitchFamily="34" charset="0"/>
                  </a:rPr>
                  <a:t>X</a:t>
                </a:r>
                <a:r>
                  <a:rPr lang="en-US" altLang="zh-CN" b="1" dirty="0">
                    <a:solidFill>
                      <a:srgbClr val="171717"/>
                    </a:solidFill>
                    <a:latin typeface="Segoe UI" panose="020B0502040204020203" pitchFamily="34" charset="0"/>
                  </a:rPr>
                  <a:t> </a:t>
                </a:r>
                <a:r>
                  <a:rPr lang="zh-CN" altLang="zh-CN" dirty="0">
                    <a:solidFill>
                      <a:srgbClr val="171717"/>
                    </a:solidFill>
                    <a:latin typeface="Segoe UI" panose="020B0502040204020203" pitchFamily="34" charset="0"/>
                  </a:rPr>
                  <a:t>表示，</a:t>
                </a:r>
                <a:r>
                  <a:rPr lang="zh-CN" altLang="zh-CN" b="1" dirty="0">
                    <a:solidFill>
                      <a:srgbClr val="171717"/>
                    </a:solidFill>
                    <a:latin typeface="Segoe UI" panose="020B0502040204020203" pitchFamily="34" charset="0"/>
                  </a:rPr>
                  <a:t> X</a:t>
                </a:r>
                <a:r>
                  <a:rPr lang="en-US" altLang="zh-CN" b="1" dirty="0">
                    <a:solidFill>
                      <a:srgbClr val="171717"/>
                    </a:solidFill>
                    <a:latin typeface="Segoe UI" panose="020B0502040204020203" pitchFamily="34" charset="0"/>
                  </a:rPr>
                  <a:t> </a:t>
                </a:r>
                <a:r>
                  <a:rPr lang="en-US" altLang="zh-CN" dirty="0">
                    <a:solidFill>
                      <a:srgbClr val="171717"/>
                    </a:solidFill>
                    <a:latin typeface="Segoe UI" panose="020B0502040204020203" pitchFamily="34" charset="0"/>
                  </a:rPr>
                  <a:t>= </a:t>
                </a:r>
                <a14:m>
                  <m:oMath xmlns:m="http://schemas.openxmlformats.org/officeDocument/2006/math">
                    <m:d>
                      <m:dPr>
                        <m:begChr m:val="["/>
                        <m:endChr m:val="]"/>
                        <m:ctrlPr>
                          <a:rPr lang="en-US" altLang="zh-CN" i="1" smtClean="0">
                            <a:solidFill>
                              <a:srgbClr val="171717"/>
                            </a:solidFill>
                            <a:latin typeface="Cambria Math" panose="02040503050406030204" pitchFamily="18" charset="0"/>
                          </a:rPr>
                        </m:ctrlPr>
                      </m:dPr>
                      <m:e>
                        <m:m>
                          <m:mPr>
                            <m:mcs>
                              <m:mc>
                                <m:mcPr>
                                  <m:count m:val="2"/>
                                  <m:mcJc m:val="center"/>
                                </m:mcPr>
                              </m:mc>
                            </m:mcs>
                            <m:ctrlPr>
                              <a:rPr lang="en-US" altLang="zh-CN" i="1" smtClean="0">
                                <a:solidFill>
                                  <a:srgbClr val="171717"/>
                                </a:solidFill>
                                <a:latin typeface="Cambria Math" panose="02040503050406030204" pitchFamily="18" charset="0"/>
                              </a:rPr>
                            </m:ctrlPr>
                          </m:mPr>
                          <m:mr>
                            <m:e>
                              <m:r>
                                <m:rPr>
                                  <m:brk m:alnAt="7"/>
                                </m:rPr>
                                <a:rPr lang="en-US" altLang="zh-CN" b="0" i="1" smtClean="0">
                                  <a:solidFill>
                                    <a:srgbClr val="171717"/>
                                  </a:solidFill>
                                  <a:latin typeface="Cambria Math" panose="02040503050406030204" pitchFamily="18" charset="0"/>
                                </a:rPr>
                                <m:t>1</m:t>
                              </m:r>
                            </m:e>
                            <m:e>
                              <m:r>
                                <a:rPr lang="en-US" altLang="zh-CN" b="0" i="1" smtClean="0">
                                  <a:solidFill>
                                    <a:srgbClr val="171717"/>
                                  </a:solidFill>
                                  <a:latin typeface="Cambria Math" panose="02040503050406030204" pitchFamily="18" charset="0"/>
                                </a:rPr>
                                <m:t>0</m:t>
                              </m:r>
                            </m:e>
                          </m:mr>
                          <m:mr>
                            <m:e>
                              <m:r>
                                <a:rPr lang="en-US" altLang="zh-CN" b="0" i="1" smtClean="0">
                                  <a:solidFill>
                                    <a:srgbClr val="171717"/>
                                  </a:solidFill>
                                  <a:latin typeface="Cambria Math" panose="02040503050406030204" pitchFamily="18" charset="0"/>
                                </a:rPr>
                                <m:t>0</m:t>
                              </m:r>
                            </m:e>
                            <m:e>
                              <m:r>
                                <a:rPr lang="en-US" altLang="zh-CN" b="0" i="1" smtClean="0">
                                  <a:solidFill>
                                    <a:srgbClr val="171717"/>
                                  </a:solidFill>
                                  <a:latin typeface="Cambria Math" panose="02040503050406030204" pitchFamily="18" charset="0"/>
                                </a:rPr>
                                <m:t>1</m:t>
                              </m:r>
                            </m:e>
                          </m:mr>
                        </m:m>
                      </m:e>
                    </m:d>
                  </m:oMath>
                </a14:m>
                <a:r>
                  <a:rPr lang="en-US" altLang="zh-CN" dirty="0">
                    <a:solidFill>
                      <a:srgbClr val="171717"/>
                    </a:solidFill>
                    <a:latin typeface="Segoe UI" panose="020B0502040204020203" pitchFamily="34" charset="0"/>
                  </a:rPr>
                  <a:t>,  </a:t>
                </a:r>
                <a:r>
                  <a:rPr lang="zh-CN" altLang="zh-CN" dirty="0">
                    <a:solidFill>
                      <a:srgbClr val="171717"/>
                    </a:solidFill>
                    <a:latin typeface="Segoe UI" panose="020B0502040204020203" pitchFamily="34" charset="0"/>
                  </a:rPr>
                  <a:t>用于将量子比特的状态从 0 翻转到 1（反之亦然），例如</a:t>
                </a:r>
                <a:endParaRPr lang="en-US" altLang="zh-CN" dirty="0">
                  <a:solidFill>
                    <a:srgbClr val="171717"/>
                  </a:solidFill>
                  <a:latin typeface="Segoe UI" panose="020B0502040204020203" pitchFamily="34" charset="0"/>
                </a:endParaRPr>
              </a:p>
              <a:p>
                <a:pPr lvl="0" algn="ctr"/>
                <a14:m>
                  <m:oMath xmlns:m="http://schemas.openxmlformats.org/officeDocument/2006/math">
                    <m:d>
                      <m:dPr>
                        <m:begChr m:val="["/>
                        <m:endChr m:val="]"/>
                        <m:ctrlPr>
                          <a:rPr lang="en-US" altLang="zh-CN" i="1">
                            <a:solidFill>
                              <a:srgbClr val="171717"/>
                            </a:solidFill>
                            <a:latin typeface="Cambria Math" panose="02040503050406030204" pitchFamily="18" charset="0"/>
                          </a:rPr>
                        </m:ctrlPr>
                      </m:dPr>
                      <m:e>
                        <m:m>
                          <m:mPr>
                            <m:mcs>
                              <m:mc>
                                <m:mcPr>
                                  <m:count m:val="2"/>
                                  <m:mcJc m:val="center"/>
                                </m:mcPr>
                              </m:mc>
                            </m:mcs>
                            <m:ctrlPr>
                              <a:rPr lang="en-US" altLang="zh-CN" i="1">
                                <a:solidFill>
                                  <a:srgbClr val="171717"/>
                                </a:solidFill>
                                <a:latin typeface="Cambria Math" panose="02040503050406030204" pitchFamily="18" charset="0"/>
                              </a:rPr>
                            </m:ctrlPr>
                          </m:mPr>
                          <m:mr>
                            <m:e>
                              <m:r>
                                <m:rPr>
                                  <m:brk m:alnAt="7"/>
                                </m:rPr>
                                <a:rPr lang="en-US" altLang="zh-CN" b="0" i="1" smtClean="0">
                                  <a:solidFill>
                                    <a:srgbClr val="171717"/>
                                  </a:solidFill>
                                  <a:latin typeface="Cambria Math" panose="02040503050406030204" pitchFamily="18" charset="0"/>
                                </a:rPr>
                                <m:t>0</m:t>
                              </m:r>
                            </m:e>
                            <m:e>
                              <m:r>
                                <a:rPr lang="en-US" altLang="zh-CN" b="0" i="1" smtClean="0">
                                  <a:solidFill>
                                    <a:srgbClr val="171717"/>
                                  </a:solidFill>
                                  <a:latin typeface="Cambria Math" panose="02040503050406030204" pitchFamily="18" charset="0"/>
                                </a:rPr>
                                <m:t>1</m:t>
                              </m:r>
                            </m:e>
                          </m:mr>
                          <m:mr>
                            <m:e>
                              <m:r>
                                <a:rPr lang="en-US" altLang="zh-CN" b="0" i="1" smtClean="0">
                                  <a:solidFill>
                                    <a:srgbClr val="171717"/>
                                  </a:solidFill>
                                  <a:latin typeface="Cambria Math" panose="02040503050406030204" pitchFamily="18" charset="0"/>
                                </a:rPr>
                                <m:t>1</m:t>
                              </m:r>
                            </m:e>
                            <m:e>
                              <m:r>
                                <a:rPr lang="en-US" altLang="zh-CN" b="0" i="1" smtClean="0">
                                  <a:solidFill>
                                    <a:srgbClr val="171717"/>
                                  </a:solidFill>
                                  <a:latin typeface="Cambria Math" panose="02040503050406030204" pitchFamily="18" charset="0"/>
                                </a:rPr>
                                <m:t>0</m:t>
                              </m:r>
                            </m:e>
                          </m:mr>
                        </m:m>
                      </m:e>
                    </m:d>
                    <m:d>
                      <m:dPr>
                        <m:begChr m:val="["/>
                        <m:endChr m:val="]"/>
                        <m:ctrlPr>
                          <a:rPr lang="en-US" altLang="zh-CN" i="1">
                            <a:solidFill>
                              <a:srgbClr val="171717"/>
                            </a:solidFill>
                            <a:latin typeface="Cambria Math" panose="02040503050406030204" pitchFamily="18" charset="0"/>
                          </a:rPr>
                        </m:ctrlPr>
                      </m:dPr>
                      <m:e>
                        <m:m>
                          <m:mPr>
                            <m:mcs>
                              <m:mc>
                                <m:mcPr>
                                  <m:count m:val="1"/>
                                  <m:mcJc m:val="center"/>
                                </m:mcPr>
                              </m:mc>
                            </m:mcs>
                            <m:ctrlPr>
                              <a:rPr lang="en-US" altLang="zh-CN" i="1">
                                <a:solidFill>
                                  <a:srgbClr val="171717"/>
                                </a:solidFill>
                                <a:latin typeface="Cambria Math" panose="02040503050406030204" pitchFamily="18" charset="0"/>
                              </a:rPr>
                            </m:ctrlPr>
                          </m:mPr>
                          <m:mr>
                            <m:e>
                              <m:r>
                                <m:rPr>
                                  <m:brk m:alnAt="7"/>
                                </m:rPr>
                                <a:rPr lang="en-US" altLang="zh-CN" i="1">
                                  <a:solidFill>
                                    <a:srgbClr val="171717"/>
                                  </a:solidFill>
                                  <a:latin typeface="Cambria Math" panose="02040503050406030204" pitchFamily="18" charset="0"/>
                                </a:rPr>
                                <m:t>1</m:t>
                              </m:r>
                            </m:e>
                          </m:mr>
                          <m:mr>
                            <m:e>
                              <m:r>
                                <a:rPr lang="en-US" altLang="zh-CN" i="1">
                                  <a:solidFill>
                                    <a:srgbClr val="171717"/>
                                  </a:solidFill>
                                  <a:latin typeface="Cambria Math" panose="02040503050406030204" pitchFamily="18" charset="0"/>
                                </a:rPr>
                                <m:t>0</m:t>
                              </m:r>
                            </m:e>
                          </m:mr>
                        </m:m>
                      </m:e>
                    </m:d>
                  </m:oMath>
                </a14:m>
                <a:r>
                  <a:rPr lang="en-US" altLang="zh-CN" dirty="0">
                    <a:solidFill>
                      <a:srgbClr val="171717"/>
                    </a:solidFill>
                    <a:latin typeface="Segoe UI" panose="020B0502040204020203" pitchFamily="34" charset="0"/>
                  </a:rPr>
                  <a:t> = </a:t>
                </a:r>
                <a14:m>
                  <m:oMath xmlns:m="http://schemas.openxmlformats.org/officeDocument/2006/math">
                    <m:d>
                      <m:dPr>
                        <m:begChr m:val="["/>
                        <m:endChr m:val="]"/>
                        <m:ctrlPr>
                          <a:rPr lang="en-US" altLang="zh-CN" i="1">
                            <a:solidFill>
                              <a:srgbClr val="171717"/>
                            </a:solidFill>
                            <a:latin typeface="Cambria Math" panose="02040503050406030204" pitchFamily="18" charset="0"/>
                          </a:rPr>
                        </m:ctrlPr>
                      </m:dPr>
                      <m:e>
                        <m:m>
                          <m:mPr>
                            <m:mcs>
                              <m:mc>
                                <m:mcPr>
                                  <m:count m:val="1"/>
                                  <m:mcJc m:val="center"/>
                                </m:mcPr>
                              </m:mc>
                            </m:mcs>
                            <m:ctrlPr>
                              <a:rPr lang="en-US" altLang="zh-CN" i="1">
                                <a:solidFill>
                                  <a:srgbClr val="171717"/>
                                </a:solidFill>
                                <a:latin typeface="Cambria Math" panose="02040503050406030204" pitchFamily="18" charset="0"/>
                              </a:rPr>
                            </m:ctrlPr>
                          </m:mPr>
                          <m:mr>
                            <m:e>
                              <m:r>
                                <m:rPr>
                                  <m:brk m:alnAt="7"/>
                                </m:rPr>
                                <a:rPr lang="en-US" altLang="zh-CN" b="0" i="1" smtClean="0">
                                  <a:solidFill>
                                    <a:srgbClr val="171717"/>
                                  </a:solidFill>
                                  <a:latin typeface="Cambria Math" panose="02040503050406030204" pitchFamily="18" charset="0"/>
                                </a:rPr>
                                <m:t>0</m:t>
                              </m:r>
                            </m:e>
                          </m:mr>
                          <m:mr>
                            <m:e>
                              <m:r>
                                <a:rPr lang="en-US" altLang="zh-CN" b="0" i="1" smtClean="0">
                                  <a:solidFill>
                                    <a:srgbClr val="171717"/>
                                  </a:solidFill>
                                  <a:latin typeface="Cambria Math" panose="02040503050406030204" pitchFamily="18" charset="0"/>
                                </a:rPr>
                                <m:t>1</m:t>
                              </m:r>
                            </m:e>
                          </m:mr>
                        </m:m>
                      </m:e>
                    </m:d>
                  </m:oMath>
                </a14:m>
                <a:endParaRPr lang="zh-CN" altLang="zh-CN" dirty="0">
                  <a:solidFill>
                    <a:srgbClr val="171717"/>
                  </a:solidFill>
                  <a:latin typeface="Segoe UI" panose="020B0502040204020203" pitchFamily="34" charset="0"/>
                </a:endParaRPr>
              </a:p>
              <a:p>
                <a:pPr lvl="0"/>
                <a:r>
                  <a:rPr lang="en-US" altLang="zh-CN" dirty="0">
                    <a:solidFill>
                      <a:srgbClr val="171717"/>
                    </a:solidFill>
                    <a:latin typeface="Segoe UI" panose="020B0502040204020203" pitchFamily="34" charset="0"/>
                  </a:rPr>
                  <a:t>H </a:t>
                </a:r>
                <a:r>
                  <a:rPr lang="zh-CN" altLang="zh-CN" dirty="0">
                    <a:solidFill>
                      <a:srgbClr val="171717"/>
                    </a:solidFill>
                    <a:latin typeface="Segoe UI" panose="020B0502040204020203" pitchFamily="34" charset="0"/>
                  </a:rPr>
                  <a:t>操作</a:t>
                </a:r>
                <a:r>
                  <a:rPr lang="en-US" altLang="zh-CN" dirty="0">
                    <a:solidFill>
                      <a:srgbClr val="171717"/>
                    </a:solidFill>
                    <a:latin typeface="Segoe UI" panose="020B0502040204020203" pitchFamily="34" charset="0"/>
                  </a:rPr>
                  <a:t> </a:t>
                </a:r>
                <a:r>
                  <a:rPr lang="zh-CN" altLang="zh-CN" dirty="0">
                    <a:solidFill>
                      <a:srgbClr val="171717"/>
                    </a:solidFill>
                    <a:latin typeface="Segoe UI" panose="020B0502040204020203" pitchFamily="34" charset="0"/>
                  </a:rPr>
                  <a:t>由 Hadamard 变换 </a:t>
                </a:r>
                <a:r>
                  <a:rPr lang="en-US" altLang="zh-CN" b="1" dirty="0">
                    <a:solidFill>
                      <a:srgbClr val="171717"/>
                    </a:solidFill>
                    <a:latin typeface="Segoe UI" panose="020B0502040204020203" pitchFamily="34" charset="0"/>
                  </a:rPr>
                  <a:t>H </a:t>
                </a:r>
                <a:r>
                  <a:rPr lang="zh-CN" altLang="zh-CN" dirty="0">
                    <a:solidFill>
                      <a:srgbClr val="171717"/>
                    </a:solidFill>
                    <a:latin typeface="Segoe UI" panose="020B0502040204020203" pitchFamily="34" charset="0"/>
                  </a:rPr>
                  <a:t>表示，</a:t>
                </a:r>
                <a:r>
                  <a:rPr lang="en-US" altLang="zh-CN" b="1" dirty="0">
                    <a:solidFill>
                      <a:srgbClr val="171717"/>
                    </a:solidFill>
                    <a:latin typeface="Segoe UI" panose="020B0502040204020203" pitchFamily="34" charset="0"/>
                  </a:rPr>
                  <a:t>H </a:t>
                </a:r>
                <a:r>
                  <a:rPr lang="en-US" altLang="zh-CN" dirty="0">
                    <a:solidFill>
                      <a:srgbClr val="171717"/>
                    </a:solidFill>
                    <a:latin typeface="Segoe UI" panose="020B0502040204020203" pitchFamily="34" charset="0"/>
                  </a:rPr>
                  <a:t>= </a:t>
                </a:r>
                <a14:m>
                  <m:oMath xmlns:m="http://schemas.openxmlformats.org/officeDocument/2006/math">
                    <m:f>
                      <m:fPr>
                        <m:ctrlPr>
                          <a:rPr lang="en-US" altLang="zh-CN" i="1">
                            <a:solidFill>
                              <a:srgbClr val="171717"/>
                            </a:solidFill>
                            <a:latin typeface="Cambria Math" panose="02040503050406030204" pitchFamily="18" charset="0"/>
                          </a:rPr>
                        </m:ctrlPr>
                      </m:fPr>
                      <m:num>
                        <m:r>
                          <a:rPr lang="en-US" altLang="zh-CN" i="1">
                            <a:solidFill>
                              <a:srgbClr val="171717"/>
                            </a:solidFill>
                            <a:latin typeface="Cambria Math" panose="02040503050406030204" pitchFamily="18" charset="0"/>
                          </a:rPr>
                          <m:t>1</m:t>
                        </m:r>
                      </m:num>
                      <m:den>
                        <m:rad>
                          <m:radPr>
                            <m:degHide m:val="on"/>
                            <m:ctrlPr>
                              <a:rPr lang="en-US" altLang="zh-CN" i="1">
                                <a:solidFill>
                                  <a:srgbClr val="171717"/>
                                </a:solidFill>
                                <a:latin typeface="Cambria Math" panose="02040503050406030204" pitchFamily="18" charset="0"/>
                              </a:rPr>
                            </m:ctrlPr>
                          </m:radPr>
                          <m:deg/>
                          <m:e>
                            <m:r>
                              <a:rPr lang="en-US" altLang="zh-CN" i="1">
                                <a:solidFill>
                                  <a:srgbClr val="171717"/>
                                </a:solidFill>
                                <a:latin typeface="Cambria Math" panose="02040503050406030204" pitchFamily="18" charset="0"/>
                              </a:rPr>
                              <m:t>2</m:t>
                            </m:r>
                          </m:e>
                        </m:rad>
                      </m:den>
                    </m:f>
                    <m:d>
                      <m:dPr>
                        <m:begChr m:val="["/>
                        <m:endChr m:val="]"/>
                        <m:ctrlPr>
                          <a:rPr lang="en-US" altLang="zh-CN" i="1">
                            <a:solidFill>
                              <a:srgbClr val="171717"/>
                            </a:solidFill>
                            <a:latin typeface="Cambria Math" panose="02040503050406030204" pitchFamily="18" charset="0"/>
                          </a:rPr>
                        </m:ctrlPr>
                      </m:dPr>
                      <m:e>
                        <m:m>
                          <m:mPr>
                            <m:mcs>
                              <m:mc>
                                <m:mcPr>
                                  <m:count m:val="2"/>
                                  <m:mcJc m:val="center"/>
                                </m:mcPr>
                              </m:mc>
                            </m:mcs>
                            <m:ctrlPr>
                              <a:rPr lang="en-US" altLang="zh-CN" i="1">
                                <a:solidFill>
                                  <a:srgbClr val="171717"/>
                                </a:solidFill>
                                <a:latin typeface="Cambria Math" panose="02040503050406030204" pitchFamily="18" charset="0"/>
                              </a:rPr>
                            </m:ctrlPr>
                          </m:mPr>
                          <m:mr>
                            <m:e>
                              <m:r>
                                <m:rPr>
                                  <m:brk m:alnAt="7"/>
                                </m:rPr>
                                <a:rPr lang="en-US" altLang="zh-CN" b="0" i="1" smtClean="0">
                                  <a:solidFill>
                                    <a:srgbClr val="171717"/>
                                  </a:solidFill>
                                  <a:latin typeface="Cambria Math" panose="02040503050406030204" pitchFamily="18" charset="0"/>
                                </a:rPr>
                                <m:t>1</m:t>
                              </m:r>
                            </m:e>
                            <m:e>
                              <m:r>
                                <a:rPr lang="en-US" altLang="zh-CN" i="1">
                                  <a:solidFill>
                                    <a:srgbClr val="171717"/>
                                  </a:solidFill>
                                  <a:latin typeface="Cambria Math" panose="02040503050406030204" pitchFamily="18" charset="0"/>
                                </a:rPr>
                                <m:t>1</m:t>
                              </m:r>
                            </m:e>
                          </m:mr>
                          <m:mr>
                            <m:e>
                              <m:r>
                                <a:rPr lang="en-US" altLang="zh-CN" i="1">
                                  <a:solidFill>
                                    <a:srgbClr val="171717"/>
                                  </a:solidFill>
                                  <a:latin typeface="Cambria Math" panose="02040503050406030204" pitchFamily="18" charset="0"/>
                                </a:rPr>
                                <m:t>1</m:t>
                              </m:r>
                            </m:e>
                            <m:e>
                              <m:r>
                                <a:rPr lang="en-US" altLang="zh-CN" i="1" smtClean="0">
                                  <a:solidFill>
                                    <a:srgbClr val="171717"/>
                                  </a:solidFill>
                                  <a:latin typeface="Cambria Math" panose="02040503050406030204" pitchFamily="18" charset="0"/>
                                </a:rPr>
                                <m:t>−</m:t>
                              </m:r>
                              <m:r>
                                <a:rPr lang="en-US" altLang="zh-CN" b="0" i="1" smtClean="0">
                                  <a:solidFill>
                                    <a:srgbClr val="171717"/>
                                  </a:solidFill>
                                  <a:latin typeface="Cambria Math" panose="02040503050406030204" pitchFamily="18" charset="0"/>
                                </a:rPr>
                                <m:t>1</m:t>
                              </m:r>
                            </m:e>
                          </m:mr>
                        </m:m>
                      </m:e>
                    </m:d>
                  </m:oMath>
                </a14:m>
                <a:r>
                  <a:rPr lang="zh-CN" altLang="en-US" dirty="0">
                    <a:solidFill>
                      <a:srgbClr val="171717"/>
                    </a:solidFill>
                    <a:latin typeface="Segoe UI" panose="020B0502040204020203" pitchFamily="34" charset="0"/>
                  </a:rPr>
                  <a:t>，</a:t>
                </a:r>
                <a:r>
                  <a:rPr lang="zh-CN" altLang="zh-CN" dirty="0">
                    <a:solidFill>
                      <a:srgbClr val="171717"/>
                    </a:solidFill>
                    <a:latin typeface="Segoe UI" panose="020B0502040204020203" pitchFamily="34" charset="0"/>
                  </a:rPr>
                  <a:t>并将量子比特置于叠加状态，在这种状态下它甚至有可能以任一方式坍缩，如下所示</a:t>
                </a:r>
                <a:endParaRPr lang="en-US" altLang="zh-CN" dirty="0">
                  <a:solidFill>
                    <a:srgbClr val="171717"/>
                  </a:solidFill>
                  <a:latin typeface="Segoe UI" panose="020B0502040204020203" pitchFamily="34" charset="0"/>
                </a:endParaRPr>
              </a:p>
              <a:p>
                <a:pPr lvl="0" algn="ctr"/>
                <a14:m>
                  <m:oMath xmlns:m="http://schemas.openxmlformats.org/officeDocument/2006/math">
                    <m:f>
                      <m:fPr>
                        <m:ctrlPr>
                          <a:rPr lang="en-US" altLang="zh-CN" i="1">
                            <a:solidFill>
                              <a:srgbClr val="171717"/>
                            </a:solidFill>
                            <a:latin typeface="Cambria Math" panose="02040503050406030204" pitchFamily="18" charset="0"/>
                          </a:rPr>
                        </m:ctrlPr>
                      </m:fPr>
                      <m:num>
                        <m:r>
                          <a:rPr lang="en-US" altLang="zh-CN" i="1">
                            <a:solidFill>
                              <a:srgbClr val="171717"/>
                            </a:solidFill>
                            <a:latin typeface="Cambria Math" panose="02040503050406030204" pitchFamily="18" charset="0"/>
                          </a:rPr>
                          <m:t>1</m:t>
                        </m:r>
                      </m:num>
                      <m:den>
                        <m:rad>
                          <m:radPr>
                            <m:degHide m:val="on"/>
                            <m:ctrlPr>
                              <a:rPr lang="en-US" altLang="zh-CN" i="1">
                                <a:solidFill>
                                  <a:srgbClr val="171717"/>
                                </a:solidFill>
                                <a:latin typeface="Cambria Math" panose="02040503050406030204" pitchFamily="18" charset="0"/>
                              </a:rPr>
                            </m:ctrlPr>
                          </m:radPr>
                          <m:deg/>
                          <m:e>
                            <m:r>
                              <a:rPr lang="en-US" altLang="zh-CN" i="1">
                                <a:solidFill>
                                  <a:srgbClr val="171717"/>
                                </a:solidFill>
                                <a:latin typeface="Cambria Math" panose="02040503050406030204" pitchFamily="18" charset="0"/>
                              </a:rPr>
                              <m:t>2</m:t>
                            </m:r>
                          </m:e>
                        </m:rad>
                      </m:den>
                    </m:f>
                    <m:d>
                      <m:dPr>
                        <m:begChr m:val="["/>
                        <m:endChr m:val="]"/>
                        <m:ctrlPr>
                          <a:rPr lang="en-US" altLang="zh-CN" i="1">
                            <a:solidFill>
                              <a:srgbClr val="171717"/>
                            </a:solidFill>
                            <a:latin typeface="Cambria Math" panose="02040503050406030204" pitchFamily="18" charset="0"/>
                          </a:rPr>
                        </m:ctrlPr>
                      </m:dPr>
                      <m:e>
                        <m:m>
                          <m:mPr>
                            <m:mcs>
                              <m:mc>
                                <m:mcPr>
                                  <m:count m:val="2"/>
                                  <m:mcJc m:val="center"/>
                                </m:mcPr>
                              </m:mc>
                            </m:mcs>
                            <m:ctrlPr>
                              <a:rPr lang="en-US" altLang="zh-CN" i="1">
                                <a:solidFill>
                                  <a:srgbClr val="171717"/>
                                </a:solidFill>
                                <a:latin typeface="Cambria Math" panose="02040503050406030204" pitchFamily="18" charset="0"/>
                              </a:rPr>
                            </m:ctrlPr>
                          </m:mPr>
                          <m:mr>
                            <m:e>
                              <m:r>
                                <m:rPr>
                                  <m:brk m:alnAt="7"/>
                                </m:rPr>
                                <a:rPr lang="en-US" altLang="zh-CN" i="1">
                                  <a:solidFill>
                                    <a:srgbClr val="171717"/>
                                  </a:solidFill>
                                  <a:latin typeface="Cambria Math" panose="02040503050406030204" pitchFamily="18" charset="0"/>
                                </a:rPr>
                                <m:t>1</m:t>
                              </m:r>
                            </m:e>
                            <m:e>
                              <m:r>
                                <a:rPr lang="en-US" altLang="zh-CN" i="1">
                                  <a:solidFill>
                                    <a:srgbClr val="171717"/>
                                  </a:solidFill>
                                  <a:latin typeface="Cambria Math" panose="02040503050406030204" pitchFamily="18" charset="0"/>
                                </a:rPr>
                                <m:t>1</m:t>
                              </m:r>
                            </m:e>
                          </m:mr>
                          <m:mr>
                            <m:e>
                              <m:r>
                                <a:rPr lang="en-US" altLang="zh-CN" i="1">
                                  <a:solidFill>
                                    <a:srgbClr val="171717"/>
                                  </a:solidFill>
                                  <a:latin typeface="Cambria Math" panose="02040503050406030204" pitchFamily="18" charset="0"/>
                                </a:rPr>
                                <m:t>1</m:t>
                              </m:r>
                            </m:e>
                            <m:e>
                              <m:r>
                                <a:rPr lang="en-US" altLang="zh-CN" i="1">
                                  <a:solidFill>
                                    <a:srgbClr val="171717"/>
                                  </a:solidFill>
                                  <a:latin typeface="Cambria Math" panose="02040503050406030204" pitchFamily="18" charset="0"/>
                                </a:rPr>
                                <m:t>−1</m:t>
                              </m:r>
                            </m:e>
                          </m:mr>
                        </m:m>
                      </m:e>
                    </m:d>
                    <m:d>
                      <m:dPr>
                        <m:begChr m:val="["/>
                        <m:endChr m:val="]"/>
                        <m:ctrlPr>
                          <a:rPr lang="en-US" altLang="zh-CN" i="1">
                            <a:solidFill>
                              <a:srgbClr val="171717"/>
                            </a:solidFill>
                            <a:latin typeface="Cambria Math" panose="02040503050406030204" pitchFamily="18" charset="0"/>
                          </a:rPr>
                        </m:ctrlPr>
                      </m:dPr>
                      <m:e>
                        <m:m>
                          <m:mPr>
                            <m:mcs>
                              <m:mc>
                                <m:mcPr>
                                  <m:count m:val="1"/>
                                  <m:mcJc m:val="center"/>
                                </m:mcPr>
                              </m:mc>
                            </m:mcs>
                            <m:ctrlPr>
                              <a:rPr lang="en-US" altLang="zh-CN" i="1">
                                <a:solidFill>
                                  <a:srgbClr val="171717"/>
                                </a:solidFill>
                                <a:latin typeface="Cambria Math" panose="02040503050406030204" pitchFamily="18" charset="0"/>
                              </a:rPr>
                            </m:ctrlPr>
                          </m:mPr>
                          <m:mr>
                            <m:e>
                              <m:r>
                                <m:rPr>
                                  <m:brk m:alnAt="7"/>
                                </m:rPr>
                                <a:rPr lang="en-US" altLang="zh-CN" i="1">
                                  <a:solidFill>
                                    <a:srgbClr val="171717"/>
                                  </a:solidFill>
                                  <a:latin typeface="Cambria Math" panose="02040503050406030204" pitchFamily="18" charset="0"/>
                                </a:rPr>
                                <m:t>1</m:t>
                              </m:r>
                            </m:e>
                          </m:mr>
                          <m:mr>
                            <m:e>
                              <m:r>
                                <a:rPr lang="en-US" altLang="zh-CN" i="1">
                                  <a:solidFill>
                                    <a:srgbClr val="171717"/>
                                  </a:solidFill>
                                  <a:latin typeface="Cambria Math" panose="02040503050406030204" pitchFamily="18" charset="0"/>
                                </a:rPr>
                                <m:t>0</m:t>
                              </m:r>
                            </m:e>
                          </m:mr>
                        </m:m>
                      </m:e>
                    </m:d>
                  </m:oMath>
                </a14:m>
                <a:r>
                  <a:rPr lang="en-US" altLang="zh-CN" dirty="0">
                    <a:solidFill>
                      <a:srgbClr val="171717"/>
                    </a:solidFill>
                    <a:latin typeface="Segoe UI" panose="020B0502040204020203" pitchFamily="34" charset="0"/>
                  </a:rPr>
                  <a:t> = </a:t>
                </a:r>
                <a14:m>
                  <m:oMath xmlns:m="http://schemas.openxmlformats.org/officeDocument/2006/math">
                    <m:f>
                      <m:fPr>
                        <m:ctrlPr>
                          <a:rPr lang="en-US" altLang="zh-CN" i="1">
                            <a:solidFill>
                              <a:srgbClr val="171717"/>
                            </a:solidFill>
                            <a:latin typeface="Cambria Math" panose="02040503050406030204" pitchFamily="18" charset="0"/>
                          </a:rPr>
                        </m:ctrlPr>
                      </m:fPr>
                      <m:num>
                        <m:r>
                          <a:rPr lang="en-US" altLang="zh-CN" i="1">
                            <a:solidFill>
                              <a:srgbClr val="171717"/>
                            </a:solidFill>
                            <a:latin typeface="Cambria Math" panose="02040503050406030204" pitchFamily="18" charset="0"/>
                          </a:rPr>
                          <m:t>1</m:t>
                        </m:r>
                      </m:num>
                      <m:den>
                        <m:rad>
                          <m:radPr>
                            <m:degHide m:val="on"/>
                            <m:ctrlPr>
                              <a:rPr lang="en-US" altLang="zh-CN" i="1">
                                <a:solidFill>
                                  <a:srgbClr val="171717"/>
                                </a:solidFill>
                                <a:latin typeface="Cambria Math" panose="02040503050406030204" pitchFamily="18" charset="0"/>
                              </a:rPr>
                            </m:ctrlPr>
                          </m:radPr>
                          <m:deg/>
                          <m:e>
                            <m:r>
                              <a:rPr lang="en-US" altLang="zh-CN" i="1">
                                <a:solidFill>
                                  <a:srgbClr val="171717"/>
                                </a:solidFill>
                                <a:latin typeface="Cambria Math" panose="02040503050406030204" pitchFamily="18" charset="0"/>
                              </a:rPr>
                              <m:t>2</m:t>
                            </m:r>
                          </m:e>
                        </m:rad>
                      </m:den>
                    </m:f>
                    <m:d>
                      <m:dPr>
                        <m:begChr m:val="["/>
                        <m:endChr m:val="]"/>
                        <m:ctrlPr>
                          <a:rPr lang="en-US" altLang="zh-CN" i="1">
                            <a:solidFill>
                              <a:srgbClr val="171717"/>
                            </a:solidFill>
                            <a:latin typeface="Cambria Math" panose="02040503050406030204" pitchFamily="18" charset="0"/>
                          </a:rPr>
                        </m:ctrlPr>
                      </m:dPr>
                      <m:e>
                        <m:m>
                          <m:mPr>
                            <m:mcs>
                              <m:mc>
                                <m:mcPr>
                                  <m:count m:val="1"/>
                                  <m:mcJc m:val="center"/>
                                </m:mcPr>
                              </m:mc>
                            </m:mcs>
                            <m:ctrlPr>
                              <a:rPr lang="en-US" altLang="zh-CN" i="1">
                                <a:solidFill>
                                  <a:srgbClr val="171717"/>
                                </a:solidFill>
                                <a:latin typeface="Cambria Math" panose="02040503050406030204" pitchFamily="18" charset="0"/>
                              </a:rPr>
                            </m:ctrlPr>
                          </m:mPr>
                          <m:mr>
                            <m:e>
                              <m:r>
                                <m:rPr>
                                  <m:brk m:alnAt="7"/>
                                </m:rPr>
                                <a:rPr lang="en-US" altLang="zh-CN" b="0" i="1" smtClean="0">
                                  <a:solidFill>
                                    <a:srgbClr val="171717"/>
                                  </a:solidFill>
                                  <a:latin typeface="Cambria Math" panose="02040503050406030204" pitchFamily="18" charset="0"/>
                                </a:rPr>
                                <m:t>1</m:t>
                              </m:r>
                            </m:e>
                          </m:mr>
                          <m:mr>
                            <m:e>
                              <m:r>
                                <a:rPr lang="en-US" altLang="zh-CN" i="1">
                                  <a:solidFill>
                                    <a:srgbClr val="171717"/>
                                  </a:solidFill>
                                  <a:latin typeface="Cambria Math" panose="02040503050406030204" pitchFamily="18" charset="0"/>
                                </a:rPr>
                                <m:t>1</m:t>
                              </m:r>
                            </m:e>
                          </m:mr>
                        </m:m>
                      </m:e>
                    </m:d>
                  </m:oMath>
                </a14:m>
                <a:endParaRPr lang="en-US" altLang="zh-CN" dirty="0">
                  <a:solidFill>
                    <a:srgbClr val="171717"/>
                  </a:solidFill>
                  <a:latin typeface="Segoe UI" panose="020B0502040204020203" pitchFamily="34" charset="0"/>
                </a:endParaRPr>
              </a:p>
              <a:p>
                <a:pPr lvl="0"/>
                <a:r>
                  <a:rPr lang="zh-CN" altLang="zh-CN" dirty="0">
                    <a:solidFill>
                      <a:srgbClr val="171717"/>
                    </a:solidFill>
                    <a:latin typeface="Segoe UI" panose="020B0502040204020203" pitchFamily="34" charset="0"/>
                  </a:rPr>
                  <a:t>请注意 </a:t>
                </a:r>
                <a14:m>
                  <m:oMath xmlns:m="http://schemas.openxmlformats.org/officeDocument/2006/math">
                    <m:sSup>
                      <m:sSupPr>
                        <m:ctrlPr>
                          <a:rPr lang="en-US" altLang="zh-CN" i="1">
                            <a:solidFill>
                              <a:srgbClr val="171717"/>
                            </a:solidFill>
                            <a:latin typeface="Cambria Math" panose="02040503050406030204" pitchFamily="18" charset="0"/>
                          </a:rPr>
                        </m:ctrlPr>
                      </m:sSupPr>
                      <m:e>
                        <m:d>
                          <m:dPr>
                            <m:begChr m:val="|"/>
                            <m:endChr m:val="|"/>
                            <m:ctrlPr>
                              <a:rPr lang="en-US" altLang="zh-CN" i="1">
                                <a:solidFill>
                                  <a:srgbClr val="171717"/>
                                </a:solidFill>
                                <a:latin typeface="Cambria Math" panose="02040503050406030204" pitchFamily="18" charset="0"/>
                              </a:rPr>
                            </m:ctrlPr>
                          </m:dPr>
                          <m:e>
                            <m:r>
                              <a:rPr lang="en-US" altLang="zh-CN" i="1">
                                <a:solidFill>
                                  <a:srgbClr val="171717"/>
                                </a:solidFill>
                                <a:latin typeface="Cambria Math" panose="02040503050406030204" pitchFamily="18" charset="0"/>
                              </a:rPr>
                              <m:t>𝑎</m:t>
                            </m:r>
                          </m:e>
                        </m:d>
                      </m:e>
                      <m:sup>
                        <m:r>
                          <a:rPr lang="en-US" altLang="zh-CN" i="1">
                            <a:solidFill>
                              <a:srgbClr val="171717"/>
                            </a:solidFill>
                            <a:latin typeface="Cambria Math" panose="02040503050406030204" pitchFamily="18" charset="0"/>
                          </a:rPr>
                          <m:t>2</m:t>
                        </m:r>
                      </m:sup>
                    </m:sSup>
                    <m:r>
                      <a:rPr lang="en-US" altLang="zh-CN" i="1" smtClean="0">
                        <a:solidFill>
                          <a:srgbClr val="171717"/>
                        </a:solidFill>
                        <a:latin typeface="Cambria Math" panose="02040503050406030204" pitchFamily="18" charset="0"/>
                      </a:rPr>
                      <m:t>=</m:t>
                    </m:r>
                    <m:sSup>
                      <m:sSupPr>
                        <m:ctrlPr>
                          <a:rPr lang="en-US" altLang="zh-CN" i="1">
                            <a:solidFill>
                              <a:srgbClr val="171717"/>
                            </a:solidFill>
                            <a:latin typeface="Cambria Math" panose="02040503050406030204" pitchFamily="18" charset="0"/>
                          </a:rPr>
                        </m:ctrlPr>
                      </m:sSupPr>
                      <m:e>
                        <m:d>
                          <m:dPr>
                            <m:begChr m:val="|"/>
                            <m:endChr m:val="|"/>
                            <m:ctrlPr>
                              <a:rPr lang="en-US" altLang="zh-CN" i="1">
                                <a:solidFill>
                                  <a:srgbClr val="171717"/>
                                </a:solidFill>
                                <a:latin typeface="Cambria Math" panose="02040503050406030204" pitchFamily="18" charset="0"/>
                              </a:rPr>
                            </m:ctrlPr>
                          </m:dPr>
                          <m:e>
                            <m:r>
                              <a:rPr lang="en-US" altLang="zh-CN" i="1">
                                <a:solidFill>
                                  <a:srgbClr val="171717"/>
                                </a:solidFill>
                                <a:latin typeface="Cambria Math" panose="02040503050406030204" pitchFamily="18" charset="0"/>
                              </a:rPr>
                              <m:t>𝑏</m:t>
                            </m:r>
                          </m:e>
                        </m:d>
                      </m:e>
                      <m:sup>
                        <m:r>
                          <a:rPr lang="en-US" altLang="zh-CN" i="1">
                            <a:solidFill>
                              <a:srgbClr val="171717"/>
                            </a:solidFill>
                            <a:latin typeface="Cambria Math" panose="02040503050406030204" pitchFamily="18" charset="0"/>
                          </a:rPr>
                          <m:t>2</m:t>
                        </m:r>
                      </m:sup>
                    </m:sSup>
                    <m:r>
                      <a:rPr lang="en-US" altLang="zh-CN" i="1">
                        <a:solidFill>
                          <a:srgbClr val="171717"/>
                        </a:solidFill>
                        <a:latin typeface="Cambria Math" panose="02040503050406030204" pitchFamily="18" charset="0"/>
                      </a:rPr>
                      <m:t>=</m:t>
                    </m:r>
                    <m:f>
                      <m:fPr>
                        <m:ctrlPr>
                          <a:rPr lang="en-US" altLang="zh-CN" i="1">
                            <a:solidFill>
                              <a:srgbClr val="171717"/>
                            </a:solidFill>
                            <a:latin typeface="Cambria Math" panose="02040503050406030204" pitchFamily="18" charset="0"/>
                          </a:rPr>
                        </m:ctrlPr>
                      </m:fPr>
                      <m:num>
                        <m:r>
                          <a:rPr lang="en-US" altLang="zh-CN" i="1">
                            <a:solidFill>
                              <a:srgbClr val="171717"/>
                            </a:solidFill>
                            <a:latin typeface="Cambria Math" panose="02040503050406030204" pitchFamily="18" charset="0"/>
                          </a:rPr>
                          <m:t>1</m:t>
                        </m:r>
                      </m:num>
                      <m:den>
                        <m:r>
                          <a:rPr lang="en-US" altLang="zh-CN" b="0" i="1" smtClean="0">
                            <a:solidFill>
                              <a:srgbClr val="171717"/>
                            </a:solidFill>
                            <a:latin typeface="Cambria Math" panose="02040503050406030204" pitchFamily="18" charset="0"/>
                          </a:rPr>
                          <m:t>2</m:t>
                        </m:r>
                      </m:den>
                    </m:f>
                  </m:oMath>
                </a14:m>
                <a:r>
                  <a:rPr lang="zh-CN" altLang="zh-CN" dirty="0">
                    <a:solidFill>
                      <a:srgbClr val="171717"/>
                    </a:solidFill>
                    <a:latin typeface="Segoe UI" panose="020B0502040204020203" pitchFamily="34" charset="0"/>
                  </a:rPr>
                  <a:t>，这意味着坍缩到 0 和 1 状态的概率相同</a:t>
                </a:r>
                <a:endParaRPr lang="en-US" altLang="zh-CN" dirty="0">
                  <a:solidFill>
                    <a:srgbClr val="171717"/>
                  </a:solidFill>
                  <a:latin typeface="Segoe UI" panose="020B0502040204020203" pitchFamily="34" charset="0"/>
                </a:endParaRPr>
              </a:p>
              <a:p>
                <a:pPr lvl="0"/>
                <a:endParaRPr lang="zh-CN" altLang="zh-CN" dirty="0">
                  <a:solidFill>
                    <a:srgbClr val="171717"/>
                  </a:solidFill>
                  <a:latin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zh-CN" altLang="zh-CN" dirty="0">
                    <a:solidFill>
                      <a:srgbClr val="171717"/>
                    </a:solidFill>
                    <a:latin typeface="Segoe UI" panose="020B0502040204020203" pitchFamily="34" charset="0"/>
                  </a:rPr>
                  <a:t>代表量子操作的矩阵有一个要求 - 该矩阵必须是酉矩阵。 只要矩阵的逆等于矩阵的共轭转置，就是酉矩阵 </a:t>
                </a:r>
              </a:p>
            </p:txBody>
          </p:sp>
        </mc:Choice>
        <mc:Fallback xmlns="">
          <p:sp>
            <p:nvSpPr>
              <p:cNvPr id="3" name="Rectangle 1"/>
              <p:cNvSpPr>
                <a:spLocks noRot="1" noChangeAspect="1" noMove="1" noResize="1" noEditPoints="1" noAdjustHandles="1" noChangeArrowheads="1" noChangeShapeType="1" noTextEdit="1"/>
              </p:cNvSpPr>
              <p:nvPr/>
            </p:nvSpPr>
            <p:spPr bwMode="auto">
              <a:xfrm>
                <a:off x="669925" y="1257537"/>
                <a:ext cx="10918696" cy="4545347"/>
              </a:xfrm>
              <a:prstGeom prst="rect">
                <a:avLst/>
              </a:prstGeom>
              <a:blipFill>
                <a:blip r:embed="rId3"/>
                <a:stretch>
                  <a:fillRect l="-503" t="-268" r="-447" b="-1743"/>
                </a:stretch>
              </a:bli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zh-CN" altLang="en-US">
                    <a:noFill/>
                  </a:rPr>
                  <a:t> </a:t>
                </a:r>
              </a:p>
            </p:txBody>
          </p:sp>
        </mc:Fallback>
      </mc:AlternateContent>
    </p:spTree>
    <p:custDataLst>
      <p:tags r:id="rId1"/>
    </p:custDataLst>
    <p:extLst>
      <p:ext uri="{BB962C8B-B14F-4D97-AF65-F5344CB8AC3E}">
        <p14:creationId xmlns:p14="http://schemas.microsoft.com/office/powerpoint/2010/main" val="4455563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2" name="íṣľiḑe">
            <a:extLst>
              <a:ext uri="{FF2B5EF4-FFF2-40B4-BE49-F238E27FC236}">
                <a16:creationId xmlns:a16="http://schemas.microsoft.com/office/drawing/2014/main" id="{8AC4395B-A0A0-4D81-B628-E4F9AB374736}"/>
              </a:ext>
            </a:extLst>
          </p:cNvPr>
          <p:cNvSpPr>
            <a:spLocks noGrp="1"/>
          </p:cNvSpPr>
          <p:nvPr>
            <p:ph type="title"/>
          </p:nvPr>
        </p:nvSpPr>
        <p:spPr/>
        <p:txBody>
          <a:bodyPr>
            <a:normAutofit/>
          </a:bodyPr>
          <a:lstStyle/>
          <a:p>
            <a:pPr lvl="0"/>
            <a:r>
              <a:rPr lang="zh-CN" altLang="en-US" dirty="0"/>
              <a:t>表示两个量子比特的状态</a:t>
            </a:r>
          </a:p>
        </p:txBody>
      </p:sp>
      <p:sp>
        <p:nvSpPr>
          <p:cNvPr id="4" name="ïṩḷidê">
            <a:extLst>
              <a:ext uri="{FF2B5EF4-FFF2-40B4-BE49-F238E27FC236}">
                <a16:creationId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19</a:t>
            </a:fld>
            <a:endParaRPr lang="zh-CN" altLang="en-US"/>
          </a:p>
        </p:txBody>
      </p:sp>
      <mc:AlternateContent xmlns:mc="http://schemas.openxmlformats.org/markup-compatibility/2006" xmlns:a14="http://schemas.microsoft.com/office/drawing/2010/main">
        <mc:Choice Requires="a14">
          <p:sp>
            <p:nvSpPr>
              <p:cNvPr id="5" name="矩形 4"/>
              <p:cNvSpPr/>
              <p:nvPr/>
            </p:nvSpPr>
            <p:spPr>
              <a:xfrm>
                <a:off x="669924" y="1459011"/>
                <a:ext cx="10850561" cy="4432495"/>
              </a:xfrm>
              <a:prstGeom prst="rect">
                <a:avLst/>
              </a:prstGeom>
            </p:spPr>
            <p:txBody>
              <a:bodyPr wrap="square">
                <a:spAutoFit/>
              </a:bodyPr>
              <a:lstStyle/>
              <a:p>
                <a:r>
                  <a:rPr lang="zh-CN" altLang="en-US" dirty="0">
                    <a:solidFill>
                      <a:srgbClr val="171717"/>
                    </a:solidFill>
                    <a:latin typeface="Segoe UI" panose="020B0502040204020203" pitchFamily="34" charset="0"/>
                  </a:rPr>
                  <a:t>在上面的示例中，使用单列矩阵</a:t>
                </a:r>
                <a14:m>
                  <m:oMath xmlns:m="http://schemas.openxmlformats.org/officeDocument/2006/math">
                    <m:d>
                      <m:dPr>
                        <m:begChr m:val="["/>
                        <m:endChr m:val="]"/>
                        <m:ctrlPr>
                          <a:rPr lang="en-US" altLang="zh-CN" i="1">
                            <a:solidFill>
                              <a:srgbClr val="171717"/>
                            </a:solidFill>
                            <a:latin typeface="Cambria Math" panose="02040503050406030204" pitchFamily="18" charset="0"/>
                          </a:rPr>
                        </m:ctrlPr>
                      </m:dPr>
                      <m:e>
                        <m:m>
                          <m:mPr>
                            <m:mcs>
                              <m:mc>
                                <m:mcPr>
                                  <m:count m:val="1"/>
                                  <m:mcJc m:val="center"/>
                                </m:mcPr>
                              </m:mc>
                            </m:mcs>
                            <m:ctrlPr>
                              <a:rPr lang="en-US" altLang="zh-CN" i="1">
                                <a:solidFill>
                                  <a:srgbClr val="171717"/>
                                </a:solidFill>
                                <a:latin typeface="Cambria Math" panose="02040503050406030204" pitchFamily="18" charset="0"/>
                              </a:rPr>
                            </m:ctrlPr>
                          </m:mPr>
                          <m:mr>
                            <m:e>
                              <m:r>
                                <m:rPr>
                                  <m:brk m:alnAt="7"/>
                                </m:rPr>
                                <a:rPr lang="en-US" altLang="zh-CN" i="1">
                                  <a:solidFill>
                                    <a:srgbClr val="171717"/>
                                  </a:solidFill>
                                  <a:latin typeface="Cambria Math" panose="02040503050406030204" pitchFamily="18" charset="0"/>
                                </a:rPr>
                                <m:t>𝑎</m:t>
                              </m:r>
                            </m:e>
                          </m:mr>
                          <m:mr>
                            <m:e>
                              <m:r>
                                <a:rPr lang="en-US" altLang="zh-CN" i="1">
                                  <a:solidFill>
                                    <a:srgbClr val="171717"/>
                                  </a:solidFill>
                                  <a:latin typeface="Cambria Math" panose="02040503050406030204" pitchFamily="18" charset="0"/>
                                </a:rPr>
                                <m:t>𝑏</m:t>
                              </m:r>
                            </m:e>
                          </m:mr>
                        </m:m>
                      </m:e>
                    </m:d>
                  </m:oMath>
                </a14:m>
                <a:r>
                  <a:rPr lang="zh-CN" altLang="en-US" dirty="0">
                    <a:solidFill>
                      <a:srgbClr val="171717"/>
                    </a:solidFill>
                    <a:latin typeface="Segoe UI" panose="020B0502040204020203" pitchFamily="34" charset="0"/>
                  </a:rPr>
                  <a:t>描述一个量子比特的状态，并通过将两个矩阵相乘来对其应用操作。 但如果量子计算机使用多个量子比特，那么如何描述两个量子比特的组合状态呢？</a:t>
                </a:r>
                <a:endParaRPr lang="en-US" altLang="zh-CN" dirty="0">
                  <a:solidFill>
                    <a:srgbClr val="171717"/>
                  </a:solidFill>
                  <a:latin typeface="Segoe UI" panose="020B0502040204020203" pitchFamily="34" charset="0"/>
                </a:endParaRPr>
              </a:p>
              <a:p>
                <a:endParaRPr lang="zh-CN" altLang="en-US" dirty="0">
                  <a:solidFill>
                    <a:srgbClr val="171717"/>
                  </a:solidFill>
                  <a:latin typeface="Segoe UI" panose="020B0502040204020203" pitchFamily="34" charset="0"/>
                </a:endParaRPr>
              </a:p>
              <a:p>
                <a:r>
                  <a:rPr lang="zh-CN" altLang="en-US" dirty="0">
                    <a:solidFill>
                      <a:srgbClr val="171717"/>
                    </a:solidFill>
                    <a:latin typeface="Segoe UI" panose="020B0502040204020203" pitchFamily="34" charset="0"/>
                  </a:rPr>
                  <a:t>每个量子比特都是一个向量空间，因此不能只将其相乘。 而是使用张量积，这是一个相关操作，可以从各个向量空间创建新的向量空间，并用 ⊗ 符号表示。 例如，计算两个量子比特的状态的张量积 </a:t>
                </a:r>
                <a:endParaRPr lang="en-US" altLang="zh-CN" dirty="0">
                  <a:solidFill>
                    <a:srgbClr val="171717"/>
                  </a:solidFill>
                  <a:latin typeface="Segoe UI" panose="020B0502040204020203" pitchFamily="34" charset="0"/>
                </a:endParaRPr>
              </a:p>
              <a:p>
                <a:pPr algn="ctr"/>
                <a14:m>
                  <m:oMath xmlns:m="http://schemas.openxmlformats.org/officeDocument/2006/math">
                    <m:d>
                      <m:dPr>
                        <m:begChr m:val="["/>
                        <m:endChr m:val="]"/>
                        <m:ctrlPr>
                          <a:rPr lang="en-US" altLang="zh-CN" i="1">
                            <a:solidFill>
                              <a:srgbClr val="171717"/>
                            </a:solidFill>
                            <a:latin typeface="Cambria Math" panose="02040503050406030204" pitchFamily="18" charset="0"/>
                          </a:rPr>
                        </m:ctrlPr>
                      </m:dPr>
                      <m:e>
                        <m:m>
                          <m:mPr>
                            <m:mcs>
                              <m:mc>
                                <m:mcPr>
                                  <m:count m:val="1"/>
                                  <m:mcJc m:val="center"/>
                                </m:mcPr>
                              </m:mc>
                            </m:mcs>
                            <m:ctrlPr>
                              <a:rPr lang="en-US" altLang="zh-CN" i="1">
                                <a:solidFill>
                                  <a:srgbClr val="171717"/>
                                </a:solidFill>
                                <a:latin typeface="Cambria Math" panose="02040503050406030204" pitchFamily="18" charset="0"/>
                              </a:rPr>
                            </m:ctrlPr>
                          </m:mPr>
                          <m:mr>
                            <m:e>
                              <m:r>
                                <m:rPr>
                                  <m:brk m:alnAt="7"/>
                                </m:rPr>
                                <a:rPr lang="en-US" altLang="zh-CN" i="1">
                                  <a:solidFill>
                                    <a:srgbClr val="171717"/>
                                  </a:solidFill>
                                  <a:latin typeface="Cambria Math" panose="02040503050406030204" pitchFamily="18" charset="0"/>
                                </a:rPr>
                                <m:t>𝑎</m:t>
                              </m:r>
                            </m:e>
                          </m:mr>
                          <m:mr>
                            <m:e>
                              <m:r>
                                <a:rPr lang="en-US" altLang="zh-CN" i="1">
                                  <a:solidFill>
                                    <a:srgbClr val="171717"/>
                                  </a:solidFill>
                                  <a:latin typeface="Cambria Math" panose="02040503050406030204" pitchFamily="18" charset="0"/>
                                </a:rPr>
                                <m:t>𝑏</m:t>
                              </m:r>
                            </m:e>
                          </m:mr>
                        </m:m>
                      </m:e>
                    </m:d>
                  </m:oMath>
                </a14:m>
                <a:r>
                  <a:rPr lang="en-US" altLang="zh-CN" dirty="0">
                    <a:solidFill>
                      <a:srgbClr val="171717"/>
                    </a:solidFill>
                    <a:latin typeface="Segoe UI" panose="020B0502040204020203" pitchFamily="34" charset="0"/>
                  </a:rPr>
                  <a:t> </a:t>
                </a:r>
                <a:r>
                  <a:rPr lang="zh-CN" altLang="en-US" dirty="0">
                    <a:solidFill>
                      <a:srgbClr val="171717"/>
                    </a:solidFill>
                    <a:latin typeface="Segoe UI" panose="020B0502040204020203" pitchFamily="34" charset="0"/>
                  </a:rPr>
                  <a:t>⊗ </a:t>
                </a:r>
                <a14:m>
                  <m:oMath xmlns:m="http://schemas.openxmlformats.org/officeDocument/2006/math">
                    <m:d>
                      <m:dPr>
                        <m:begChr m:val="["/>
                        <m:endChr m:val="]"/>
                        <m:ctrlPr>
                          <a:rPr lang="en-US" altLang="zh-CN" i="1">
                            <a:solidFill>
                              <a:srgbClr val="171717"/>
                            </a:solidFill>
                            <a:latin typeface="Cambria Math" panose="02040503050406030204" pitchFamily="18" charset="0"/>
                          </a:rPr>
                        </m:ctrlPr>
                      </m:dPr>
                      <m:e>
                        <m:m>
                          <m:mPr>
                            <m:mcs>
                              <m:mc>
                                <m:mcPr>
                                  <m:count m:val="1"/>
                                  <m:mcJc m:val="center"/>
                                </m:mcPr>
                              </m:mc>
                            </m:mcs>
                            <m:ctrlPr>
                              <a:rPr lang="en-US" altLang="zh-CN" i="1">
                                <a:solidFill>
                                  <a:srgbClr val="171717"/>
                                </a:solidFill>
                                <a:latin typeface="Cambria Math" panose="02040503050406030204" pitchFamily="18" charset="0"/>
                              </a:rPr>
                            </m:ctrlPr>
                          </m:mPr>
                          <m:mr>
                            <m:e>
                              <m:r>
                                <m:rPr>
                                  <m:brk m:alnAt="7"/>
                                </m:rPr>
                                <a:rPr lang="en-US" altLang="zh-CN" b="0" i="1" smtClean="0">
                                  <a:solidFill>
                                    <a:srgbClr val="171717"/>
                                  </a:solidFill>
                                  <a:latin typeface="Cambria Math" panose="02040503050406030204" pitchFamily="18" charset="0"/>
                                </a:rPr>
                                <m:t>𝑐</m:t>
                              </m:r>
                            </m:e>
                          </m:mr>
                          <m:mr>
                            <m:e>
                              <m:r>
                                <a:rPr lang="en-US" altLang="zh-CN" b="0" i="1" smtClean="0">
                                  <a:solidFill>
                                    <a:srgbClr val="171717"/>
                                  </a:solidFill>
                                  <a:latin typeface="Cambria Math" panose="02040503050406030204" pitchFamily="18" charset="0"/>
                                </a:rPr>
                                <m:t>𝑑</m:t>
                              </m:r>
                            </m:e>
                          </m:mr>
                        </m:m>
                      </m:e>
                    </m:d>
                  </m:oMath>
                </a14:m>
                <a:r>
                  <a:rPr lang="en-US" altLang="zh-CN" dirty="0">
                    <a:solidFill>
                      <a:srgbClr val="171717"/>
                    </a:solidFill>
                    <a:latin typeface="Segoe UI" panose="020B0502040204020203" pitchFamily="34" charset="0"/>
                  </a:rPr>
                  <a:t> = </a:t>
                </a:r>
                <a14:m>
                  <m:oMath xmlns:m="http://schemas.openxmlformats.org/officeDocument/2006/math">
                    <m:d>
                      <m:dPr>
                        <m:begChr m:val="["/>
                        <m:endChr m:val="]"/>
                        <m:ctrlPr>
                          <a:rPr lang="en-US" altLang="zh-CN" i="1">
                            <a:solidFill>
                              <a:srgbClr val="171717"/>
                            </a:solidFill>
                            <a:latin typeface="Cambria Math" panose="02040503050406030204" pitchFamily="18" charset="0"/>
                          </a:rPr>
                        </m:ctrlPr>
                      </m:dPr>
                      <m:e>
                        <m:m>
                          <m:mPr>
                            <m:mcs>
                              <m:mc>
                                <m:mcPr>
                                  <m:count m:val="1"/>
                                  <m:mcJc m:val="center"/>
                                </m:mcPr>
                              </m:mc>
                            </m:mcs>
                            <m:ctrlPr>
                              <a:rPr lang="en-US" altLang="zh-CN" i="1">
                                <a:solidFill>
                                  <a:srgbClr val="171717"/>
                                </a:solidFill>
                                <a:latin typeface="Cambria Math" panose="02040503050406030204" pitchFamily="18" charset="0"/>
                              </a:rPr>
                            </m:ctrlPr>
                          </m:mPr>
                          <m:mr>
                            <m:e>
                              <m:r>
                                <m:rPr>
                                  <m:brk m:alnAt="7"/>
                                </m:rPr>
                                <a:rPr lang="en-US" altLang="zh-CN" b="0" i="1" smtClean="0">
                                  <a:solidFill>
                                    <a:srgbClr val="171717"/>
                                  </a:solidFill>
                                  <a:latin typeface="Cambria Math" panose="02040503050406030204" pitchFamily="18" charset="0"/>
                                </a:rPr>
                                <m:t>𝑎</m:t>
                              </m:r>
                              <m:d>
                                <m:dPr>
                                  <m:begChr m:val="["/>
                                  <m:endChr m:val="]"/>
                                  <m:ctrlPr>
                                    <a:rPr lang="en-US" altLang="zh-CN" i="1">
                                      <a:solidFill>
                                        <a:srgbClr val="171717"/>
                                      </a:solidFill>
                                      <a:latin typeface="Cambria Math" panose="02040503050406030204" pitchFamily="18" charset="0"/>
                                    </a:rPr>
                                  </m:ctrlPr>
                                </m:dPr>
                                <m:e>
                                  <m:m>
                                    <m:mPr>
                                      <m:mcs>
                                        <m:mc>
                                          <m:mcPr>
                                            <m:count m:val="1"/>
                                            <m:mcJc m:val="center"/>
                                          </m:mcPr>
                                        </m:mc>
                                      </m:mcs>
                                      <m:ctrlPr>
                                        <a:rPr lang="en-US" altLang="zh-CN" i="1">
                                          <a:solidFill>
                                            <a:srgbClr val="171717"/>
                                          </a:solidFill>
                                          <a:latin typeface="Cambria Math" panose="02040503050406030204" pitchFamily="18" charset="0"/>
                                        </a:rPr>
                                      </m:ctrlPr>
                                    </m:mPr>
                                    <m:mr>
                                      <m:e>
                                        <m:r>
                                          <m:rPr>
                                            <m:brk m:alnAt="7"/>
                                          </m:rPr>
                                          <a:rPr lang="en-US" altLang="zh-CN" i="1">
                                            <a:solidFill>
                                              <a:srgbClr val="171717"/>
                                            </a:solidFill>
                                            <a:latin typeface="Cambria Math" panose="02040503050406030204" pitchFamily="18" charset="0"/>
                                          </a:rPr>
                                          <m:t>𝑐</m:t>
                                        </m:r>
                                      </m:e>
                                    </m:mr>
                                    <m:mr>
                                      <m:e>
                                        <m:r>
                                          <a:rPr lang="en-US" altLang="zh-CN" i="1">
                                            <a:solidFill>
                                              <a:srgbClr val="171717"/>
                                            </a:solidFill>
                                            <a:latin typeface="Cambria Math" panose="02040503050406030204" pitchFamily="18" charset="0"/>
                                          </a:rPr>
                                          <m:t>𝑑</m:t>
                                        </m:r>
                                      </m:e>
                                    </m:mr>
                                  </m:m>
                                </m:e>
                              </m:d>
                            </m:e>
                          </m:mr>
                          <m:mr>
                            <m:e>
                              <m:r>
                                <a:rPr lang="en-US" altLang="zh-CN" b="0" i="1" smtClean="0">
                                  <a:solidFill>
                                    <a:srgbClr val="171717"/>
                                  </a:solidFill>
                                  <a:latin typeface="Cambria Math" panose="02040503050406030204" pitchFamily="18" charset="0"/>
                                </a:rPr>
                                <m:t>𝑏</m:t>
                              </m:r>
                              <m:d>
                                <m:dPr>
                                  <m:begChr m:val="["/>
                                  <m:endChr m:val="]"/>
                                  <m:ctrlPr>
                                    <a:rPr lang="en-US" altLang="zh-CN" i="1">
                                      <a:solidFill>
                                        <a:srgbClr val="171717"/>
                                      </a:solidFill>
                                      <a:latin typeface="Cambria Math" panose="02040503050406030204" pitchFamily="18" charset="0"/>
                                    </a:rPr>
                                  </m:ctrlPr>
                                </m:dPr>
                                <m:e>
                                  <m:m>
                                    <m:mPr>
                                      <m:mcs>
                                        <m:mc>
                                          <m:mcPr>
                                            <m:count m:val="1"/>
                                            <m:mcJc m:val="center"/>
                                          </m:mcPr>
                                        </m:mc>
                                      </m:mcs>
                                      <m:ctrlPr>
                                        <a:rPr lang="en-US" altLang="zh-CN" i="1">
                                          <a:solidFill>
                                            <a:srgbClr val="171717"/>
                                          </a:solidFill>
                                          <a:latin typeface="Cambria Math" panose="02040503050406030204" pitchFamily="18" charset="0"/>
                                        </a:rPr>
                                      </m:ctrlPr>
                                    </m:mPr>
                                    <m:mr>
                                      <m:e>
                                        <m:r>
                                          <m:rPr>
                                            <m:brk m:alnAt="7"/>
                                          </m:rPr>
                                          <a:rPr lang="en-US" altLang="zh-CN" i="1">
                                            <a:solidFill>
                                              <a:srgbClr val="171717"/>
                                            </a:solidFill>
                                            <a:latin typeface="Cambria Math" panose="02040503050406030204" pitchFamily="18" charset="0"/>
                                          </a:rPr>
                                          <m:t>𝑐</m:t>
                                        </m:r>
                                      </m:e>
                                    </m:mr>
                                    <m:mr>
                                      <m:e>
                                        <m:r>
                                          <a:rPr lang="en-US" altLang="zh-CN" i="1">
                                            <a:solidFill>
                                              <a:srgbClr val="171717"/>
                                            </a:solidFill>
                                            <a:latin typeface="Cambria Math" panose="02040503050406030204" pitchFamily="18" charset="0"/>
                                          </a:rPr>
                                          <m:t>𝑑</m:t>
                                        </m:r>
                                      </m:e>
                                    </m:mr>
                                  </m:m>
                                </m:e>
                              </m:d>
                            </m:e>
                          </m:mr>
                        </m:m>
                      </m:e>
                    </m:d>
                  </m:oMath>
                </a14:m>
                <a:r>
                  <a:rPr lang="en-US" altLang="zh-CN" dirty="0">
                    <a:solidFill>
                      <a:srgbClr val="171717"/>
                    </a:solidFill>
                    <a:latin typeface="Segoe UI" panose="020B0502040204020203" pitchFamily="34" charset="0"/>
                  </a:rPr>
                  <a:t> =</a:t>
                </a:r>
                <a14:m>
                  <m:oMath xmlns:m="http://schemas.openxmlformats.org/officeDocument/2006/math">
                    <m:d>
                      <m:dPr>
                        <m:begChr m:val="["/>
                        <m:endChr m:val="]"/>
                        <m:ctrlPr>
                          <a:rPr lang="en-US" altLang="zh-CN" i="1">
                            <a:solidFill>
                              <a:srgbClr val="171717"/>
                            </a:solidFill>
                            <a:latin typeface="Cambria Math" panose="02040503050406030204" pitchFamily="18" charset="0"/>
                          </a:rPr>
                        </m:ctrlPr>
                      </m:dPr>
                      <m:e>
                        <m:m>
                          <m:mPr>
                            <m:mcs>
                              <m:mc>
                                <m:mcPr>
                                  <m:count m:val="1"/>
                                  <m:mcJc m:val="center"/>
                                </m:mcPr>
                              </m:mc>
                            </m:mcs>
                            <m:ctrlPr>
                              <a:rPr lang="en-US" altLang="zh-CN" i="1">
                                <a:solidFill>
                                  <a:srgbClr val="171717"/>
                                </a:solidFill>
                                <a:latin typeface="Cambria Math" panose="02040503050406030204" pitchFamily="18" charset="0"/>
                              </a:rPr>
                            </m:ctrlPr>
                          </m:mPr>
                          <m:mr>
                            <m:e>
                              <m:r>
                                <m:rPr>
                                  <m:brk m:alnAt="7"/>
                                </m:rPr>
                                <a:rPr lang="en-US" altLang="zh-CN" b="0" i="1" smtClean="0">
                                  <a:solidFill>
                                    <a:srgbClr val="171717"/>
                                  </a:solidFill>
                                  <a:latin typeface="Cambria Math" panose="02040503050406030204" pitchFamily="18" charset="0"/>
                                </a:rPr>
                                <m:t>𝑎</m:t>
                              </m:r>
                              <m:r>
                                <a:rPr lang="en-US" altLang="zh-CN" b="0" i="1" smtClean="0">
                                  <a:solidFill>
                                    <a:srgbClr val="171717"/>
                                  </a:solidFill>
                                  <a:latin typeface="Cambria Math" panose="02040503050406030204" pitchFamily="18" charset="0"/>
                                </a:rPr>
                                <m:t>𝑐</m:t>
                              </m:r>
                            </m:e>
                          </m:mr>
                          <m:mr>
                            <m:e>
                              <m:eqArr>
                                <m:eqArrPr>
                                  <m:ctrlPr>
                                    <a:rPr lang="en-US" altLang="zh-CN" b="0" i="1" smtClean="0">
                                      <a:solidFill>
                                        <a:srgbClr val="171717"/>
                                      </a:solidFill>
                                      <a:latin typeface="Cambria Math" panose="02040503050406030204" pitchFamily="18" charset="0"/>
                                    </a:rPr>
                                  </m:ctrlPr>
                                </m:eqArrPr>
                                <m:e>
                                  <m:r>
                                    <a:rPr lang="en-US" altLang="zh-CN" b="0" i="1" smtClean="0">
                                      <a:solidFill>
                                        <a:srgbClr val="171717"/>
                                      </a:solidFill>
                                      <a:latin typeface="Cambria Math" panose="02040503050406030204" pitchFamily="18" charset="0"/>
                                    </a:rPr>
                                    <m:t>𝑎𝑑</m:t>
                                  </m:r>
                                </m:e>
                                <m:e>
                                  <m:r>
                                    <a:rPr lang="en-US" altLang="zh-CN" b="0" i="1" smtClean="0">
                                      <a:solidFill>
                                        <a:srgbClr val="171717"/>
                                      </a:solidFill>
                                      <a:latin typeface="Cambria Math" panose="02040503050406030204" pitchFamily="18" charset="0"/>
                                    </a:rPr>
                                    <m:t>𝑏𝑐</m:t>
                                  </m:r>
                                </m:e>
                                <m:e>
                                  <m:r>
                                    <a:rPr lang="en-US" altLang="zh-CN" b="0" i="1" smtClean="0">
                                      <a:solidFill>
                                        <a:srgbClr val="171717"/>
                                      </a:solidFill>
                                      <a:latin typeface="Cambria Math" panose="02040503050406030204" pitchFamily="18" charset="0"/>
                                    </a:rPr>
                                    <m:t>𝑏𝑑</m:t>
                                  </m:r>
                                </m:e>
                              </m:eqArr>
                            </m:e>
                          </m:mr>
                        </m:m>
                      </m:e>
                    </m:d>
                  </m:oMath>
                </a14:m>
                <a:endParaRPr lang="en-US" altLang="zh-CN" dirty="0">
                  <a:solidFill>
                    <a:srgbClr val="171717"/>
                  </a:solidFill>
                  <a:latin typeface="Segoe UI" panose="020B0502040204020203" pitchFamily="34" charset="0"/>
                </a:endParaRPr>
              </a:p>
              <a:p>
                <a:r>
                  <a:rPr lang="zh-CN" altLang="en-US" dirty="0">
                    <a:solidFill>
                      <a:srgbClr val="171717"/>
                    </a:solidFill>
                    <a:latin typeface="Segoe UI" panose="020B0502040204020203" pitchFamily="34" charset="0"/>
                  </a:rPr>
                  <a:t>结果是一个四维矩阵，其中每个元素都代表一个概率。 例如，</a:t>
                </a:r>
                <a:r>
                  <a:rPr lang="en-US" altLang="zh-CN" dirty="0">
                    <a:solidFill>
                      <a:srgbClr val="171717"/>
                    </a:solidFill>
                    <a:latin typeface="MJXc-TeX-math-I"/>
                  </a:rPr>
                  <a:t>ac</a:t>
                </a:r>
                <a:r>
                  <a:rPr lang="en-US" altLang="zh-CN" dirty="0">
                    <a:solidFill>
                      <a:srgbClr val="171717"/>
                    </a:solidFill>
                    <a:latin typeface="Segoe UI" panose="020B0502040204020203" pitchFamily="34" charset="0"/>
                  </a:rPr>
                  <a:t> </a:t>
                </a:r>
                <a:r>
                  <a:rPr lang="zh-CN" altLang="en-US" dirty="0">
                    <a:solidFill>
                      <a:srgbClr val="171717"/>
                    </a:solidFill>
                    <a:latin typeface="Segoe UI" panose="020B0502040204020203" pitchFamily="34" charset="0"/>
                  </a:rPr>
                  <a:t>是两个量子比特坍缩为 </a:t>
                </a:r>
                <a:r>
                  <a:rPr lang="en-US" altLang="zh-CN" dirty="0">
                    <a:solidFill>
                      <a:srgbClr val="171717"/>
                    </a:solidFill>
                    <a:latin typeface="Segoe UI" panose="020B0502040204020203" pitchFamily="34" charset="0"/>
                  </a:rPr>
                  <a:t>0 </a:t>
                </a:r>
                <a:r>
                  <a:rPr lang="zh-CN" altLang="en-US" dirty="0">
                    <a:solidFill>
                      <a:srgbClr val="171717"/>
                    </a:solidFill>
                    <a:latin typeface="Segoe UI" panose="020B0502040204020203" pitchFamily="34" charset="0"/>
                  </a:rPr>
                  <a:t>和 </a:t>
                </a:r>
                <a:r>
                  <a:rPr lang="en-US" altLang="zh-CN" dirty="0">
                    <a:solidFill>
                      <a:srgbClr val="171717"/>
                    </a:solidFill>
                    <a:latin typeface="Segoe UI" panose="020B0502040204020203" pitchFamily="34" charset="0"/>
                  </a:rPr>
                  <a:t>0 </a:t>
                </a:r>
                <a:r>
                  <a:rPr lang="zh-CN" altLang="en-US" dirty="0">
                    <a:solidFill>
                      <a:srgbClr val="171717"/>
                    </a:solidFill>
                    <a:latin typeface="Segoe UI" panose="020B0502040204020203" pitchFamily="34" charset="0"/>
                  </a:rPr>
                  <a:t>的概率，</a:t>
                </a:r>
                <a:r>
                  <a:rPr lang="en-US" altLang="zh-CN" dirty="0">
                    <a:solidFill>
                      <a:srgbClr val="171717"/>
                    </a:solidFill>
                    <a:latin typeface="MJXc-TeX-math-I"/>
                  </a:rPr>
                  <a:t>ad</a:t>
                </a:r>
                <a:r>
                  <a:rPr lang="zh-CN" altLang="en-US" dirty="0">
                    <a:solidFill>
                      <a:srgbClr val="171717"/>
                    </a:solidFill>
                    <a:latin typeface="Segoe UI" panose="020B0502040204020203" pitchFamily="34" charset="0"/>
                  </a:rPr>
                  <a:t>是坍缩为 </a:t>
                </a:r>
                <a:r>
                  <a:rPr lang="en-US" altLang="zh-CN" dirty="0">
                    <a:solidFill>
                      <a:srgbClr val="171717"/>
                    </a:solidFill>
                    <a:latin typeface="Segoe UI" panose="020B0502040204020203" pitchFamily="34" charset="0"/>
                  </a:rPr>
                  <a:t>0 </a:t>
                </a:r>
                <a:r>
                  <a:rPr lang="zh-CN" altLang="en-US" dirty="0">
                    <a:solidFill>
                      <a:srgbClr val="171717"/>
                    </a:solidFill>
                    <a:latin typeface="Segoe UI" panose="020B0502040204020203" pitchFamily="34" charset="0"/>
                  </a:rPr>
                  <a:t>和 </a:t>
                </a:r>
                <a:r>
                  <a:rPr lang="en-US" altLang="zh-CN" dirty="0">
                    <a:solidFill>
                      <a:srgbClr val="171717"/>
                    </a:solidFill>
                    <a:latin typeface="Segoe UI" panose="020B0502040204020203" pitchFamily="34" charset="0"/>
                  </a:rPr>
                  <a:t>1 </a:t>
                </a:r>
                <a:r>
                  <a:rPr lang="zh-CN" altLang="en-US" dirty="0">
                    <a:solidFill>
                      <a:srgbClr val="171717"/>
                    </a:solidFill>
                    <a:latin typeface="Segoe UI" panose="020B0502040204020203" pitchFamily="34" charset="0"/>
                  </a:rPr>
                  <a:t>的概率，依此类推。</a:t>
                </a:r>
              </a:p>
              <a:p>
                <a:r>
                  <a:rPr lang="zh-CN" altLang="en-US" dirty="0">
                    <a:solidFill>
                      <a:srgbClr val="171717"/>
                    </a:solidFill>
                    <a:latin typeface="Segoe UI" panose="020B0502040204020203" pitchFamily="34" charset="0"/>
                  </a:rPr>
                  <a:t>就像单个量子比特的状态</a:t>
                </a:r>
                <a14:m>
                  <m:oMath xmlns:m="http://schemas.openxmlformats.org/officeDocument/2006/math">
                    <m:d>
                      <m:dPr>
                        <m:begChr m:val="["/>
                        <m:endChr m:val="]"/>
                        <m:ctrlPr>
                          <a:rPr lang="en-US" altLang="zh-CN" i="1">
                            <a:solidFill>
                              <a:srgbClr val="171717"/>
                            </a:solidFill>
                            <a:latin typeface="Cambria Math" panose="02040503050406030204" pitchFamily="18" charset="0"/>
                          </a:rPr>
                        </m:ctrlPr>
                      </m:dPr>
                      <m:e>
                        <m:m>
                          <m:mPr>
                            <m:mcs>
                              <m:mc>
                                <m:mcPr>
                                  <m:count m:val="1"/>
                                  <m:mcJc m:val="center"/>
                                </m:mcPr>
                              </m:mc>
                            </m:mcs>
                            <m:ctrlPr>
                              <a:rPr lang="en-US" altLang="zh-CN" i="1">
                                <a:solidFill>
                                  <a:srgbClr val="171717"/>
                                </a:solidFill>
                                <a:latin typeface="Cambria Math" panose="02040503050406030204" pitchFamily="18" charset="0"/>
                              </a:rPr>
                            </m:ctrlPr>
                          </m:mPr>
                          <m:mr>
                            <m:e>
                              <m:r>
                                <m:rPr>
                                  <m:brk m:alnAt="7"/>
                                </m:rPr>
                                <a:rPr lang="en-US" altLang="zh-CN" i="1">
                                  <a:solidFill>
                                    <a:srgbClr val="171717"/>
                                  </a:solidFill>
                                  <a:latin typeface="Cambria Math" panose="02040503050406030204" pitchFamily="18" charset="0"/>
                                </a:rPr>
                                <m:t>𝑎</m:t>
                              </m:r>
                            </m:e>
                          </m:mr>
                          <m:mr>
                            <m:e>
                              <m:r>
                                <a:rPr lang="en-US" altLang="zh-CN" i="1">
                                  <a:solidFill>
                                    <a:srgbClr val="171717"/>
                                  </a:solidFill>
                                  <a:latin typeface="Cambria Math" panose="02040503050406030204" pitchFamily="18" charset="0"/>
                                </a:rPr>
                                <m:t>𝑏</m:t>
                              </m:r>
                            </m:e>
                          </m:mr>
                        </m:m>
                      </m:e>
                    </m:d>
                  </m:oMath>
                </a14:m>
                <a:r>
                  <a:rPr lang="zh-CN" altLang="en-US" dirty="0">
                    <a:solidFill>
                      <a:srgbClr val="171717"/>
                    </a:solidFill>
                    <a:latin typeface="Segoe UI" panose="020B0502040204020203" pitchFamily="34" charset="0"/>
                  </a:rPr>
                  <a:t>必须满足要求</a:t>
                </a:r>
                <a14:m>
                  <m:oMath xmlns:m="http://schemas.openxmlformats.org/officeDocument/2006/math">
                    <m:sSup>
                      <m:sSupPr>
                        <m:ctrlPr>
                          <a:rPr lang="en-US" altLang="zh-CN" i="1">
                            <a:solidFill>
                              <a:srgbClr val="171717"/>
                            </a:solidFill>
                            <a:latin typeface="Cambria Math" panose="02040503050406030204" pitchFamily="18" charset="0"/>
                          </a:rPr>
                        </m:ctrlPr>
                      </m:sSupPr>
                      <m:e>
                        <m:d>
                          <m:dPr>
                            <m:begChr m:val="|"/>
                            <m:endChr m:val="|"/>
                            <m:ctrlPr>
                              <a:rPr lang="en-US" altLang="zh-CN" i="1">
                                <a:solidFill>
                                  <a:srgbClr val="171717"/>
                                </a:solidFill>
                                <a:latin typeface="Cambria Math" panose="02040503050406030204" pitchFamily="18" charset="0"/>
                              </a:rPr>
                            </m:ctrlPr>
                          </m:dPr>
                          <m:e>
                            <m:r>
                              <a:rPr lang="en-US" altLang="zh-CN" i="1">
                                <a:solidFill>
                                  <a:srgbClr val="171717"/>
                                </a:solidFill>
                                <a:latin typeface="Cambria Math" panose="02040503050406030204" pitchFamily="18" charset="0"/>
                              </a:rPr>
                              <m:t>𝑎</m:t>
                            </m:r>
                          </m:e>
                        </m:d>
                      </m:e>
                      <m:sup>
                        <m:r>
                          <a:rPr lang="en-US" altLang="zh-CN" i="1">
                            <a:solidFill>
                              <a:srgbClr val="171717"/>
                            </a:solidFill>
                            <a:latin typeface="Cambria Math" panose="02040503050406030204" pitchFamily="18" charset="0"/>
                          </a:rPr>
                          <m:t>2</m:t>
                        </m:r>
                      </m:sup>
                    </m:sSup>
                    <m:r>
                      <a:rPr lang="en-US" altLang="zh-CN" i="1">
                        <a:solidFill>
                          <a:srgbClr val="171717"/>
                        </a:solidFill>
                        <a:latin typeface="Cambria Math" panose="02040503050406030204" pitchFamily="18" charset="0"/>
                      </a:rPr>
                      <m:t>+</m:t>
                    </m:r>
                    <m:sSup>
                      <m:sSupPr>
                        <m:ctrlPr>
                          <a:rPr lang="en-US" altLang="zh-CN" i="1">
                            <a:solidFill>
                              <a:srgbClr val="171717"/>
                            </a:solidFill>
                            <a:latin typeface="Cambria Math" panose="02040503050406030204" pitchFamily="18" charset="0"/>
                          </a:rPr>
                        </m:ctrlPr>
                      </m:sSupPr>
                      <m:e>
                        <m:d>
                          <m:dPr>
                            <m:begChr m:val="|"/>
                            <m:endChr m:val="|"/>
                            <m:ctrlPr>
                              <a:rPr lang="en-US" altLang="zh-CN" i="1">
                                <a:solidFill>
                                  <a:srgbClr val="171717"/>
                                </a:solidFill>
                                <a:latin typeface="Cambria Math" panose="02040503050406030204" pitchFamily="18" charset="0"/>
                              </a:rPr>
                            </m:ctrlPr>
                          </m:dPr>
                          <m:e>
                            <m:r>
                              <a:rPr lang="en-US" altLang="zh-CN" i="1">
                                <a:solidFill>
                                  <a:srgbClr val="171717"/>
                                </a:solidFill>
                                <a:latin typeface="Cambria Math" panose="02040503050406030204" pitchFamily="18" charset="0"/>
                              </a:rPr>
                              <m:t>𝑏</m:t>
                            </m:r>
                          </m:e>
                        </m:d>
                      </m:e>
                      <m:sup>
                        <m:r>
                          <a:rPr lang="en-US" altLang="zh-CN" i="1">
                            <a:solidFill>
                              <a:srgbClr val="171717"/>
                            </a:solidFill>
                            <a:latin typeface="Cambria Math" panose="02040503050406030204" pitchFamily="18" charset="0"/>
                          </a:rPr>
                          <m:t>2</m:t>
                        </m:r>
                      </m:sup>
                    </m:sSup>
                    <m:r>
                      <a:rPr lang="en-US" altLang="zh-CN" i="1">
                        <a:solidFill>
                          <a:srgbClr val="171717"/>
                        </a:solidFill>
                        <a:latin typeface="Cambria Math" panose="02040503050406030204" pitchFamily="18" charset="0"/>
                      </a:rPr>
                      <m:t>=1</m:t>
                    </m:r>
                  </m:oMath>
                </a14:m>
                <a:r>
                  <a:rPr lang="zh-CN" altLang="en-US" dirty="0">
                    <a:solidFill>
                      <a:srgbClr val="171717"/>
                    </a:solidFill>
                    <a:latin typeface="Segoe UI" panose="020B0502040204020203" pitchFamily="34" charset="0"/>
                  </a:rPr>
                  <a:t>才能表示量子状态一样，两个量子比特的状态 </a:t>
                </a:r>
                <a14:m>
                  <m:oMath xmlns:m="http://schemas.openxmlformats.org/officeDocument/2006/math">
                    <m:d>
                      <m:dPr>
                        <m:begChr m:val="["/>
                        <m:endChr m:val="]"/>
                        <m:ctrlPr>
                          <a:rPr lang="en-US" altLang="zh-CN" i="1">
                            <a:solidFill>
                              <a:srgbClr val="171717"/>
                            </a:solidFill>
                            <a:latin typeface="Cambria Math" panose="02040503050406030204" pitchFamily="18" charset="0"/>
                          </a:rPr>
                        </m:ctrlPr>
                      </m:dPr>
                      <m:e>
                        <m:m>
                          <m:mPr>
                            <m:mcs>
                              <m:mc>
                                <m:mcPr>
                                  <m:count m:val="1"/>
                                  <m:mcJc m:val="center"/>
                                </m:mcPr>
                              </m:mc>
                            </m:mcs>
                            <m:ctrlPr>
                              <a:rPr lang="en-US" altLang="zh-CN" i="1">
                                <a:solidFill>
                                  <a:srgbClr val="171717"/>
                                </a:solidFill>
                                <a:latin typeface="Cambria Math" panose="02040503050406030204" pitchFamily="18" charset="0"/>
                              </a:rPr>
                            </m:ctrlPr>
                          </m:mPr>
                          <m:mr>
                            <m:e>
                              <m:r>
                                <m:rPr>
                                  <m:brk m:alnAt="7"/>
                                </m:rPr>
                                <a:rPr lang="en-US" altLang="zh-CN" i="1">
                                  <a:solidFill>
                                    <a:srgbClr val="171717"/>
                                  </a:solidFill>
                                  <a:latin typeface="Cambria Math" panose="02040503050406030204" pitchFamily="18" charset="0"/>
                                </a:rPr>
                                <m:t>𝑎</m:t>
                              </m:r>
                              <m:r>
                                <a:rPr lang="en-US" altLang="zh-CN" i="1">
                                  <a:solidFill>
                                    <a:srgbClr val="171717"/>
                                  </a:solidFill>
                                  <a:latin typeface="Cambria Math" panose="02040503050406030204" pitchFamily="18" charset="0"/>
                                </a:rPr>
                                <m:t>𝑐</m:t>
                              </m:r>
                            </m:e>
                          </m:mr>
                          <m:mr>
                            <m:e>
                              <m:eqArr>
                                <m:eqArrPr>
                                  <m:ctrlPr>
                                    <a:rPr lang="en-US" altLang="zh-CN" i="1">
                                      <a:solidFill>
                                        <a:srgbClr val="171717"/>
                                      </a:solidFill>
                                      <a:latin typeface="Cambria Math" panose="02040503050406030204" pitchFamily="18" charset="0"/>
                                    </a:rPr>
                                  </m:ctrlPr>
                                </m:eqArrPr>
                                <m:e>
                                  <m:r>
                                    <a:rPr lang="en-US" altLang="zh-CN" i="1">
                                      <a:solidFill>
                                        <a:srgbClr val="171717"/>
                                      </a:solidFill>
                                      <a:latin typeface="Cambria Math" panose="02040503050406030204" pitchFamily="18" charset="0"/>
                                    </a:rPr>
                                    <m:t>𝑎𝑑</m:t>
                                  </m:r>
                                </m:e>
                                <m:e>
                                  <m:r>
                                    <a:rPr lang="en-US" altLang="zh-CN" i="1">
                                      <a:solidFill>
                                        <a:srgbClr val="171717"/>
                                      </a:solidFill>
                                      <a:latin typeface="Cambria Math" panose="02040503050406030204" pitchFamily="18" charset="0"/>
                                    </a:rPr>
                                    <m:t>𝑏𝑐</m:t>
                                  </m:r>
                                </m:e>
                                <m:e>
                                  <m:r>
                                    <a:rPr lang="en-US" altLang="zh-CN" i="1">
                                      <a:solidFill>
                                        <a:srgbClr val="171717"/>
                                      </a:solidFill>
                                      <a:latin typeface="Cambria Math" panose="02040503050406030204" pitchFamily="18" charset="0"/>
                                    </a:rPr>
                                    <m:t>𝑏𝑑</m:t>
                                  </m:r>
                                </m:e>
                              </m:eqArr>
                            </m:e>
                          </m:mr>
                        </m:m>
                      </m:e>
                    </m:d>
                  </m:oMath>
                </a14:m>
                <a:r>
                  <a:rPr lang="zh-CN" altLang="en-US" dirty="0">
                    <a:solidFill>
                      <a:srgbClr val="171717"/>
                    </a:solidFill>
                    <a:latin typeface="Segoe UI" panose="020B0502040204020203" pitchFamily="34" charset="0"/>
                  </a:rPr>
                  <a:t>也必须满足要求 </a:t>
                </a:r>
                <a14:m>
                  <m:oMath xmlns:m="http://schemas.openxmlformats.org/officeDocument/2006/math">
                    <m:sSup>
                      <m:sSupPr>
                        <m:ctrlPr>
                          <a:rPr lang="en-US" altLang="zh-CN" i="1">
                            <a:solidFill>
                              <a:srgbClr val="171717"/>
                            </a:solidFill>
                            <a:latin typeface="Cambria Math" panose="02040503050406030204" pitchFamily="18" charset="0"/>
                          </a:rPr>
                        </m:ctrlPr>
                      </m:sSupPr>
                      <m:e>
                        <m:d>
                          <m:dPr>
                            <m:begChr m:val="|"/>
                            <m:endChr m:val="|"/>
                            <m:ctrlPr>
                              <a:rPr lang="en-US" altLang="zh-CN" i="1">
                                <a:solidFill>
                                  <a:srgbClr val="171717"/>
                                </a:solidFill>
                                <a:latin typeface="Cambria Math" panose="02040503050406030204" pitchFamily="18" charset="0"/>
                              </a:rPr>
                            </m:ctrlPr>
                          </m:dPr>
                          <m:e>
                            <m:r>
                              <a:rPr lang="en-US" altLang="zh-CN" i="1">
                                <a:solidFill>
                                  <a:srgbClr val="171717"/>
                                </a:solidFill>
                                <a:latin typeface="Cambria Math" panose="02040503050406030204" pitchFamily="18" charset="0"/>
                              </a:rPr>
                              <m:t>𝑎</m:t>
                            </m:r>
                            <m:r>
                              <a:rPr lang="en-US" altLang="zh-CN" b="0" i="1" smtClean="0">
                                <a:solidFill>
                                  <a:srgbClr val="171717"/>
                                </a:solidFill>
                                <a:latin typeface="Cambria Math" panose="02040503050406030204" pitchFamily="18" charset="0"/>
                              </a:rPr>
                              <m:t>𝑐</m:t>
                            </m:r>
                          </m:e>
                        </m:d>
                      </m:e>
                      <m:sup>
                        <m:r>
                          <a:rPr lang="en-US" altLang="zh-CN" i="1">
                            <a:solidFill>
                              <a:srgbClr val="171717"/>
                            </a:solidFill>
                            <a:latin typeface="Cambria Math" panose="02040503050406030204" pitchFamily="18" charset="0"/>
                          </a:rPr>
                          <m:t>2</m:t>
                        </m:r>
                      </m:sup>
                    </m:sSup>
                    <m:r>
                      <a:rPr lang="en-US" altLang="zh-CN" i="1">
                        <a:solidFill>
                          <a:srgbClr val="171717"/>
                        </a:solidFill>
                        <a:latin typeface="Cambria Math" panose="02040503050406030204" pitchFamily="18" charset="0"/>
                      </a:rPr>
                      <m:t>+</m:t>
                    </m:r>
                    <m:sSup>
                      <m:sSupPr>
                        <m:ctrlPr>
                          <a:rPr lang="en-US" altLang="zh-CN" i="1">
                            <a:solidFill>
                              <a:srgbClr val="171717"/>
                            </a:solidFill>
                            <a:latin typeface="Cambria Math" panose="02040503050406030204" pitchFamily="18" charset="0"/>
                          </a:rPr>
                        </m:ctrlPr>
                      </m:sSupPr>
                      <m:e>
                        <m:d>
                          <m:dPr>
                            <m:begChr m:val="|"/>
                            <m:endChr m:val="|"/>
                            <m:ctrlPr>
                              <a:rPr lang="en-US" altLang="zh-CN" i="1">
                                <a:solidFill>
                                  <a:srgbClr val="171717"/>
                                </a:solidFill>
                                <a:latin typeface="Cambria Math" panose="02040503050406030204" pitchFamily="18" charset="0"/>
                              </a:rPr>
                            </m:ctrlPr>
                          </m:dPr>
                          <m:e>
                            <m:r>
                              <a:rPr lang="en-US" altLang="zh-CN" b="0" i="1" smtClean="0">
                                <a:solidFill>
                                  <a:srgbClr val="171717"/>
                                </a:solidFill>
                                <a:latin typeface="Cambria Math" panose="02040503050406030204" pitchFamily="18" charset="0"/>
                              </a:rPr>
                              <m:t>𝑎𝑑</m:t>
                            </m:r>
                          </m:e>
                        </m:d>
                      </m:e>
                      <m:sup>
                        <m:r>
                          <a:rPr lang="en-US" altLang="zh-CN" i="1">
                            <a:solidFill>
                              <a:srgbClr val="171717"/>
                            </a:solidFill>
                            <a:latin typeface="Cambria Math" panose="02040503050406030204" pitchFamily="18" charset="0"/>
                          </a:rPr>
                          <m:t>2</m:t>
                        </m:r>
                      </m:sup>
                    </m:sSup>
                    <m:r>
                      <a:rPr lang="en-US" altLang="zh-CN" b="0" i="1" smtClean="0">
                        <a:solidFill>
                          <a:srgbClr val="171717"/>
                        </a:solidFill>
                        <a:latin typeface="Cambria Math" panose="02040503050406030204" pitchFamily="18" charset="0"/>
                      </a:rPr>
                      <m:t>+</m:t>
                    </m:r>
                    <m:sSup>
                      <m:sSupPr>
                        <m:ctrlPr>
                          <a:rPr lang="en-US" altLang="zh-CN" i="1">
                            <a:solidFill>
                              <a:srgbClr val="171717"/>
                            </a:solidFill>
                            <a:latin typeface="Cambria Math" panose="02040503050406030204" pitchFamily="18" charset="0"/>
                          </a:rPr>
                        </m:ctrlPr>
                      </m:sSupPr>
                      <m:e>
                        <m:d>
                          <m:dPr>
                            <m:begChr m:val="|"/>
                            <m:endChr m:val="|"/>
                            <m:ctrlPr>
                              <a:rPr lang="en-US" altLang="zh-CN" i="1">
                                <a:solidFill>
                                  <a:srgbClr val="171717"/>
                                </a:solidFill>
                                <a:latin typeface="Cambria Math" panose="02040503050406030204" pitchFamily="18" charset="0"/>
                              </a:rPr>
                            </m:ctrlPr>
                          </m:dPr>
                          <m:e>
                            <m:r>
                              <a:rPr lang="en-US" altLang="zh-CN" b="0" i="1" smtClean="0">
                                <a:solidFill>
                                  <a:srgbClr val="171717"/>
                                </a:solidFill>
                                <a:latin typeface="Cambria Math" panose="02040503050406030204" pitchFamily="18" charset="0"/>
                              </a:rPr>
                              <m:t>𝑏</m:t>
                            </m:r>
                            <m:r>
                              <a:rPr lang="en-US" altLang="zh-CN" i="1">
                                <a:solidFill>
                                  <a:srgbClr val="171717"/>
                                </a:solidFill>
                                <a:latin typeface="Cambria Math" panose="02040503050406030204" pitchFamily="18" charset="0"/>
                              </a:rPr>
                              <m:t>𝑐</m:t>
                            </m:r>
                          </m:e>
                        </m:d>
                      </m:e>
                      <m:sup>
                        <m:r>
                          <a:rPr lang="en-US" altLang="zh-CN" i="1">
                            <a:solidFill>
                              <a:srgbClr val="171717"/>
                            </a:solidFill>
                            <a:latin typeface="Cambria Math" panose="02040503050406030204" pitchFamily="18" charset="0"/>
                          </a:rPr>
                          <m:t>2</m:t>
                        </m:r>
                      </m:sup>
                    </m:sSup>
                    <m:r>
                      <a:rPr lang="en-US" altLang="zh-CN" i="1">
                        <a:solidFill>
                          <a:srgbClr val="171717"/>
                        </a:solidFill>
                        <a:latin typeface="Cambria Math" panose="02040503050406030204" pitchFamily="18" charset="0"/>
                      </a:rPr>
                      <m:t>+</m:t>
                    </m:r>
                    <m:sSup>
                      <m:sSupPr>
                        <m:ctrlPr>
                          <a:rPr lang="en-US" altLang="zh-CN" i="1">
                            <a:solidFill>
                              <a:srgbClr val="171717"/>
                            </a:solidFill>
                            <a:latin typeface="Cambria Math" panose="02040503050406030204" pitchFamily="18" charset="0"/>
                          </a:rPr>
                        </m:ctrlPr>
                      </m:sSupPr>
                      <m:e>
                        <m:d>
                          <m:dPr>
                            <m:begChr m:val="|"/>
                            <m:endChr m:val="|"/>
                            <m:ctrlPr>
                              <a:rPr lang="en-US" altLang="zh-CN" i="1">
                                <a:solidFill>
                                  <a:srgbClr val="171717"/>
                                </a:solidFill>
                                <a:latin typeface="Cambria Math" panose="02040503050406030204" pitchFamily="18" charset="0"/>
                              </a:rPr>
                            </m:ctrlPr>
                          </m:dPr>
                          <m:e>
                            <m:r>
                              <a:rPr lang="en-US" altLang="zh-CN" i="1">
                                <a:solidFill>
                                  <a:srgbClr val="171717"/>
                                </a:solidFill>
                                <a:latin typeface="Cambria Math" panose="02040503050406030204" pitchFamily="18" charset="0"/>
                              </a:rPr>
                              <m:t>𝑏</m:t>
                            </m:r>
                            <m:r>
                              <a:rPr lang="en-US" altLang="zh-CN" b="0" i="1" smtClean="0">
                                <a:solidFill>
                                  <a:srgbClr val="171717"/>
                                </a:solidFill>
                                <a:latin typeface="Cambria Math" panose="02040503050406030204" pitchFamily="18" charset="0"/>
                              </a:rPr>
                              <m:t>𝑑</m:t>
                            </m:r>
                          </m:e>
                        </m:d>
                      </m:e>
                      <m:sup>
                        <m:r>
                          <a:rPr lang="en-US" altLang="zh-CN" i="1">
                            <a:solidFill>
                              <a:srgbClr val="171717"/>
                            </a:solidFill>
                            <a:latin typeface="Cambria Math" panose="02040503050406030204" pitchFamily="18" charset="0"/>
                          </a:rPr>
                          <m:t>2</m:t>
                        </m:r>
                      </m:sup>
                    </m:sSup>
                    <m:r>
                      <a:rPr lang="en-US" altLang="zh-CN" i="1">
                        <a:solidFill>
                          <a:srgbClr val="171717"/>
                        </a:solidFill>
                        <a:latin typeface="Cambria Math" panose="02040503050406030204" pitchFamily="18" charset="0"/>
                      </a:rPr>
                      <m:t>=1</m:t>
                    </m:r>
                  </m:oMath>
                </a14:m>
                <a:endParaRPr lang="zh-CN" altLang="en-US" b="0" i="0" dirty="0">
                  <a:solidFill>
                    <a:srgbClr val="171717"/>
                  </a:solidFill>
                  <a:effectLst/>
                  <a:latin typeface="Segoe UI" panose="020B0502040204020203" pitchFamily="34" charset="0"/>
                </a:endParaRPr>
              </a:p>
            </p:txBody>
          </p:sp>
        </mc:Choice>
        <mc:Fallback xmlns="">
          <p:sp>
            <p:nvSpPr>
              <p:cNvPr id="5" name="矩形 4"/>
              <p:cNvSpPr>
                <a:spLocks noRot="1" noChangeAspect="1" noMove="1" noResize="1" noEditPoints="1" noAdjustHandles="1" noChangeArrowheads="1" noChangeShapeType="1" noTextEdit="1"/>
              </p:cNvSpPr>
              <p:nvPr/>
            </p:nvSpPr>
            <p:spPr>
              <a:xfrm>
                <a:off x="669924" y="1459011"/>
                <a:ext cx="10850561" cy="4432495"/>
              </a:xfrm>
              <a:prstGeom prst="rect">
                <a:avLst/>
              </a:prstGeom>
              <a:blipFill>
                <a:blip r:embed="rId3"/>
                <a:stretch>
                  <a:fillRect l="-506" r="-281"/>
                </a:stretch>
              </a:blipFill>
            </p:spPr>
            <p:txBody>
              <a:bodyPr/>
              <a:lstStyle/>
              <a:p>
                <a:r>
                  <a:rPr lang="zh-CN" altLang="en-US">
                    <a:noFill/>
                  </a:rPr>
                  <a:t> </a:t>
                </a:r>
              </a:p>
            </p:txBody>
          </p:sp>
        </mc:Fallback>
      </mc:AlternateContent>
    </p:spTree>
    <p:custDataLst>
      <p:tags r:id="rId1"/>
    </p:custDataLst>
    <p:extLst>
      <p:ext uri="{BB962C8B-B14F-4D97-AF65-F5344CB8AC3E}">
        <p14:creationId xmlns:p14="http://schemas.microsoft.com/office/powerpoint/2010/main" val="34770251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ïṣ1iḑe"/>
        <p:cNvGrpSpPr/>
        <p:nvPr/>
      </p:nvGrpSpPr>
      <p:grpSpPr>
        <a:xfrm>
          <a:off x="0" y="0"/>
          <a:ext cx="0" cy="0"/>
          <a:chOff x="0" y="0"/>
          <a:chExt cx="0" cy="0"/>
        </a:xfrm>
      </p:grpSpPr>
      <p:grpSp>
        <p:nvGrpSpPr>
          <p:cNvPr id="2" name="işľîḋê">
            <a:extLst>
              <a:ext uri="{FF2B5EF4-FFF2-40B4-BE49-F238E27FC236}">
                <a16:creationId xmlns:a16="http://schemas.microsoft.com/office/drawing/2014/main" id="{C0498D3A-B738-48EC-A39C-94C58B88932B}"/>
              </a:ext>
            </a:extLst>
          </p:cNvPr>
          <p:cNvGrpSpPr/>
          <p:nvPr/>
        </p:nvGrpSpPr>
        <p:grpSpPr>
          <a:xfrm>
            <a:off x="757282" y="1700808"/>
            <a:ext cx="10763205" cy="4083608"/>
            <a:chOff x="757282" y="1700808"/>
            <a:chExt cx="10763205" cy="4083608"/>
          </a:xfrm>
        </p:grpSpPr>
        <p:grpSp>
          <p:nvGrpSpPr>
            <p:cNvPr id="6" name="îṧ1îḍe"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759C196-DA28-4241-ABB5-975367026FE9}"/>
                </a:ext>
              </a:extLst>
            </p:cNvPr>
            <p:cNvGrpSpPr>
              <a:grpSpLocks noChangeAspect="1"/>
            </p:cNvGrpSpPr>
            <p:nvPr/>
          </p:nvGrpSpPr>
          <p:grpSpPr>
            <a:xfrm>
              <a:off x="757282" y="1700808"/>
              <a:ext cx="10763205" cy="4083608"/>
              <a:chOff x="1175743" y="1700808"/>
              <a:chExt cx="10344744" cy="4083608"/>
            </a:xfrm>
          </p:grpSpPr>
          <p:sp>
            <p:nvSpPr>
              <p:cNvPr id="7" name="í$ļïḋê">
                <a:extLst>
                  <a:ext uri="{FF2B5EF4-FFF2-40B4-BE49-F238E27FC236}">
                    <a16:creationId xmlns:a16="http://schemas.microsoft.com/office/drawing/2014/main"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150000"/>
                  </a:lnSpc>
                  <a:buFont typeface="+mj-lt"/>
                  <a:buAutoNum type="arabicPeriod"/>
                </a:pPr>
                <a:r>
                  <a:rPr lang="zh-CN" altLang="en-US" b="0" dirty="0"/>
                  <a:t>量子计算简介</a:t>
                </a:r>
                <a:endParaRPr lang="en-US" altLang="zh-CN" b="0" dirty="0"/>
              </a:p>
              <a:p>
                <a:pPr marL="342900" indent="-342900">
                  <a:lnSpc>
                    <a:spcPct val="150000"/>
                  </a:lnSpc>
                  <a:buFont typeface="+mj-lt"/>
                  <a:buAutoNum type="arabicPeriod"/>
                </a:pPr>
                <a:r>
                  <a:rPr lang="zh-CN" altLang="en-US" b="0" dirty="0">
                    <a:latin typeface="+mn-lt"/>
                    <a:ea typeface="+mn-ea"/>
                    <a:sym typeface="+mn-lt"/>
                  </a:rPr>
                  <a:t>了解量子计算</a:t>
                </a:r>
                <a:endParaRPr lang="en-US" altLang="zh-CN" b="0" dirty="0">
                  <a:latin typeface="+mn-lt"/>
                  <a:ea typeface="+mn-ea"/>
                  <a:sym typeface="+mn-lt"/>
                </a:endParaRPr>
              </a:p>
              <a:p>
                <a:pPr marL="342900" indent="-342900">
                  <a:lnSpc>
                    <a:spcPct val="150000"/>
                  </a:lnSpc>
                  <a:buFont typeface="+mj-lt"/>
                  <a:buAutoNum type="arabicPeriod"/>
                </a:pPr>
                <a:r>
                  <a:rPr lang="zh-CN" altLang="en-US" b="0" dirty="0">
                    <a:latin typeface="+mn-lt"/>
                    <a:ea typeface="+mn-ea"/>
                    <a:sym typeface="+mn-lt"/>
                  </a:rPr>
                  <a:t>量子计算机和模拟器</a:t>
                </a:r>
                <a:endParaRPr lang="en-US" altLang="zh-CN" b="0" dirty="0">
                  <a:latin typeface="+mn-lt"/>
                  <a:ea typeface="+mn-ea"/>
                  <a:sym typeface="+mn-lt"/>
                </a:endParaRPr>
              </a:p>
              <a:p>
                <a:pPr marL="342900" indent="-342900">
                  <a:lnSpc>
                    <a:spcPct val="150000"/>
                  </a:lnSpc>
                  <a:buFont typeface="+mj-lt"/>
                  <a:buAutoNum type="arabicPeriod"/>
                </a:pPr>
                <a:r>
                  <a:rPr lang="zh-CN" altLang="en-US" b="0" dirty="0">
                    <a:latin typeface="+mn-lt"/>
                    <a:ea typeface="+mn-ea"/>
                  </a:rPr>
                  <a:t>用于量子计算的线性代数</a:t>
                </a:r>
                <a:endParaRPr lang="en-US" altLang="zh-CN" b="0" dirty="0">
                  <a:latin typeface="+mn-lt"/>
                  <a:ea typeface="+mn-ea"/>
                </a:endParaRPr>
              </a:p>
              <a:p>
                <a:pPr marL="342900" indent="-342900">
                  <a:lnSpc>
                    <a:spcPct val="150000"/>
                  </a:lnSpc>
                  <a:buFont typeface="+mj-lt"/>
                  <a:buAutoNum type="arabicPeriod"/>
                </a:pPr>
                <a:r>
                  <a:rPr lang="zh-CN" altLang="en-US" b="0" dirty="0">
                    <a:latin typeface="+mn-lt"/>
                    <a:ea typeface="+mn-ea"/>
                    <a:sym typeface="+mn-lt"/>
                  </a:rPr>
                  <a:t>有趣的物理实验</a:t>
                </a:r>
                <a:endParaRPr lang="en-US" altLang="zh-CN" b="0" dirty="0">
                  <a:latin typeface="+mn-lt"/>
                  <a:ea typeface="+mn-ea"/>
                  <a:sym typeface="+mn-lt"/>
                </a:endParaRPr>
              </a:p>
              <a:p>
                <a:pPr marL="342900" indent="-342900">
                  <a:lnSpc>
                    <a:spcPct val="150000"/>
                  </a:lnSpc>
                  <a:buFont typeface="+mj-lt"/>
                  <a:buAutoNum type="arabicPeriod"/>
                </a:pPr>
                <a:r>
                  <a:rPr lang="zh-CN" altLang="en-US" b="0" dirty="0">
                    <a:latin typeface="+mn-lt"/>
                    <a:ea typeface="+mn-ea"/>
                    <a:sym typeface="+mn-lt"/>
                  </a:rPr>
                  <a:t>量子导航</a:t>
                </a:r>
                <a:endParaRPr lang="en-US" altLang="zh-CN" b="0" dirty="0">
                  <a:latin typeface="+mn-lt"/>
                  <a:ea typeface="+mn-ea"/>
                  <a:sym typeface="+mn-lt"/>
                </a:endParaRPr>
              </a:p>
              <a:p>
                <a:pPr marL="342900" indent="-342900">
                  <a:lnSpc>
                    <a:spcPct val="150000"/>
                  </a:lnSpc>
                  <a:buFont typeface="+mj-lt"/>
                  <a:buAutoNum type="arabicPeriod"/>
                </a:pPr>
                <a:r>
                  <a:rPr lang="zh-CN" altLang="en-US" b="0" dirty="0">
                    <a:latin typeface="+mn-lt"/>
                    <a:ea typeface="+mn-ea"/>
                    <a:sym typeface="+mn-lt"/>
                  </a:rPr>
                  <a:t>量子因子图</a:t>
                </a:r>
                <a:endParaRPr lang="en-US" altLang="zh-CN" b="0" dirty="0">
                  <a:latin typeface="+mn-lt"/>
                  <a:ea typeface="+mn-ea"/>
                  <a:sym typeface="+mn-lt"/>
                </a:endParaRPr>
              </a:p>
            </p:txBody>
          </p:sp>
          <p:cxnSp>
            <p:nvCxnSpPr>
              <p:cNvPr id="8" name="iṧḻídè">
                <a:extLst>
                  <a:ext uri="{FF2B5EF4-FFF2-40B4-BE49-F238E27FC236}">
                    <a16:creationId xmlns:a16="http://schemas.microsoft.com/office/drawing/2014/main"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ïś1iďê">
                <a:extLst>
                  <a:ext uri="{FF2B5EF4-FFF2-40B4-BE49-F238E27FC236}">
                    <a16:creationId xmlns:a16="http://schemas.microsoft.com/office/drawing/2014/main"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a:solidFill>
                      <a:schemeClr val="accent1"/>
                    </a:solidFill>
                    <a:cs typeface="+mn-ea"/>
                    <a:sym typeface="+mn-lt"/>
                  </a:rPr>
                  <a:t>CONTE</a:t>
                </a:r>
                <a:r>
                  <a:rPr lang="tr-TR" sz="100" b="1">
                    <a:solidFill>
                      <a:schemeClr val="accent1"/>
                    </a:solidFill>
                    <a:cs typeface="+mn-ea"/>
                    <a:sym typeface="+mn-lt"/>
                  </a:rPr>
                  <a:t> </a:t>
                </a:r>
                <a:r>
                  <a:rPr lang="tr-TR" sz="2800" b="1">
                    <a:solidFill>
                      <a:schemeClr val="accent1"/>
                    </a:solidFill>
                    <a:cs typeface="+mn-ea"/>
                    <a:sym typeface="+mn-lt"/>
                  </a:rPr>
                  <a:t>NTS</a:t>
                </a:r>
                <a:endParaRPr lang="tr-TR" sz="2800" b="1" dirty="0">
                  <a:solidFill>
                    <a:schemeClr val="accent1"/>
                  </a:solidFill>
                  <a:cs typeface="+mn-ea"/>
                  <a:sym typeface="+mn-lt"/>
                </a:endParaRPr>
              </a:p>
            </p:txBody>
          </p:sp>
        </p:grpSp>
        <p:sp>
          <p:nvSpPr>
            <p:cNvPr id="10" name="ïşļîḓé">
              <a:extLst>
                <a:ext uri="{FF2B5EF4-FFF2-40B4-BE49-F238E27FC236}">
                  <a16:creationId xmlns:a16="http://schemas.microsoft.com/office/drawing/2014/main"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spTree>
    <p:custDataLst>
      <p:tags r:id="rId2"/>
    </p:custDataLst>
    <p:extLst>
      <p:ext uri="{BB962C8B-B14F-4D97-AF65-F5344CB8AC3E}">
        <p14:creationId xmlns:p14="http://schemas.microsoft.com/office/powerpoint/2010/main" val="9119331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i$ḷíḑê"/>
        <p:cNvGrpSpPr/>
        <p:nvPr/>
      </p:nvGrpSpPr>
      <p:grpSpPr>
        <a:xfrm>
          <a:off x="0" y="0"/>
          <a:ext cx="0" cy="0"/>
          <a:chOff x="0" y="0"/>
          <a:chExt cx="0" cy="0"/>
        </a:xfrm>
      </p:grpSpPr>
      <p:sp>
        <p:nvSpPr>
          <p:cNvPr id="5" name="íšľîḑê"/>
          <p:cNvSpPr>
            <a:spLocks noGrp="1"/>
          </p:cNvSpPr>
          <p:nvPr>
            <p:ph type="title"/>
          </p:nvPr>
        </p:nvSpPr>
        <p:spPr>
          <a:xfrm>
            <a:off x="4751615" y="3380413"/>
            <a:ext cx="5419185" cy="895350"/>
          </a:xfrm>
        </p:spPr>
        <p:txBody>
          <a:bodyPr/>
          <a:lstStyle/>
          <a:p>
            <a:r>
              <a:rPr lang="zh-CN" altLang="en-US" dirty="0"/>
              <a:t>有趣的物理实验</a:t>
            </a:r>
          </a:p>
        </p:txBody>
      </p:sp>
      <p:sp>
        <p:nvSpPr>
          <p:cNvPr id="9" name="iṧḻiḑe">
            <a:extLst>
              <a:ext uri="{FF2B5EF4-FFF2-40B4-BE49-F238E27FC236}">
                <a16:creationId xmlns:a16="http://schemas.microsoft.com/office/drawing/2014/main" id="{04F69230-F3A6-4586-9371-A858F4763E9F}"/>
              </a:ext>
            </a:extLst>
          </p:cNvPr>
          <p:cNvSpPr txBox="1"/>
          <p:nvPr/>
        </p:nvSpPr>
        <p:spPr>
          <a:xfrm>
            <a:off x="4751615" y="1566614"/>
            <a:ext cx="2141996" cy="1862386"/>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a:t>
            </a:r>
            <a:r>
              <a:rPr lang="en-US" altLang="zh-CN" sz="100" spc="100" dirty="0">
                <a:solidFill>
                  <a:schemeClr val="accent1"/>
                </a:solidFill>
                <a:latin typeface="Impact" panose="020B0806030902050204" pitchFamily="34" charset="0"/>
                <a:cs typeface="Arial" panose="020B0604020202020204" pitchFamily="34" charset="0"/>
              </a:rPr>
              <a:t> </a:t>
            </a:r>
            <a:r>
              <a:rPr lang="en-US" altLang="zh-CN" spc="100" dirty="0">
                <a:solidFill>
                  <a:schemeClr val="accent1"/>
                </a:solidFill>
                <a:latin typeface="Impact" panose="020B0806030902050204" pitchFamily="34" charset="0"/>
                <a:cs typeface="Arial" panose="020B0604020202020204" pitchFamily="34" charset="0"/>
              </a:rPr>
              <a:t>05</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6885190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2" name="íṣľiḑe">
            <a:extLst>
              <a:ext uri="{FF2B5EF4-FFF2-40B4-BE49-F238E27FC236}">
                <a16:creationId xmlns:a16="http://schemas.microsoft.com/office/drawing/2014/main" id="{8AC4395B-A0A0-4D81-B628-E4F9AB374736}"/>
              </a:ext>
            </a:extLst>
          </p:cNvPr>
          <p:cNvSpPr>
            <a:spLocks noGrp="1"/>
          </p:cNvSpPr>
          <p:nvPr>
            <p:ph type="title"/>
          </p:nvPr>
        </p:nvSpPr>
        <p:spPr/>
        <p:txBody>
          <a:bodyPr>
            <a:normAutofit/>
          </a:bodyPr>
          <a:lstStyle/>
          <a:p>
            <a:pPr lvl="0"/>
            <a:r>
              <a:rPr lang="zh-CN" altLang="en-US" dirty="0"/>
              <a:t>双缝干涉实验真的诡异恐怖吗</a:t>
            </a:r>
          </a:p>
        </p:txBody>
      </p:sp>
      <p:sp>
        <p:nvSpPr>
          <p:cNvPr id="4" name="ïṩḷidê">
            <a:extLst>
              <a:ext uri="{FF2B5EF4-FFF2-40B4-BE49-F238E27FC236}">
                <a16:creationId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21</a:t>
            </a:fld>
            <a:endParaRPr lang="zh-CN" altLang="en-US"/>
          </a:p>
        </p:txBody>
      </p:sp>
      <p:pic>
        <p:nvPicPr>
          <p:cNvPr id="4100" name="Picture 4" descr="https://upload.wikimedia.org/wikipedia/commons/thumb/c/cd/Double-slit.svg/1920px-Double-slit.svg.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6372" y="1521464"/>
            <a:ext cx="9767046" cy="467495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5826539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2" name="íṣľiḑe">
            <a:extLst>
              <a:ext uri="{FF2B5EF4-FFF2-40B4-BE49-F238E27FC236}">
                <a16:creationId xmlns:a16="http://schemas.microsoft.com/office/drawing/2014/main" id="{8AC4395B-A0A0-4D81-B628-E4F9AB374736}"/>
              </a:ext>
            </a:extLst>
          </p:cNvPr>
          <p:cNvSpPr>
            <a:spLocks noGrp="1"/>
          </p:cNvSpPr>
          <p:nvPr>
            <p:ph type="title"/>
          </p:nvPr>
        </p:nvSpPr>
        <p:spPr/>
        <p:txBody>
          <a:bodyPr>
            <a:normAutofit/>
          </a:bodyPr>
          <a:lstStyle/>
          <a:p>
            <a:pPr lvl="0"/>
            <a:r>
              <a:rPr lang="zh-CN" altLang="en-US" dirty="0"/>
              <a:t>难道光子知道我们是否在观察它？</a:t>
            </a:r>
          </a:p>
        </p:txBody>
      </p:sp>
      <p:sp>
        <p:nvSpPr>
          <p:cNvPr id="4" name="ïṩḷidê">
            <a:extLst>
              <a:ext uri="{FF2B5EF4-FFF2-40B4-BE49-F238E27FC236}">
                <a16:creationId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22</a:t>
            </a:fld>
            <a:endParaRPr lang="zh-CN" altLang="en-US"/>
          </a:p>
        </p:txBody>
      </p:sp>
      <p:pic>
        <p:nvPicPr>
          <p:cNvPr id="5122" name="Picture 2" descr="https://upload.wikimedia.org/wikipedia/commons/thumb/7/7e/Double-slit_experiment_results_Tanamura_2.jpg/320px-Double-slit_experiment_results_Tanamura_2.jpg"/>
          <p:cNvPicPr>
            <a:picLocks noChangeAspect="1" noChangeArrowheads="1"/>
          </p:cNvPicPr>
          <p:nvPr/>
        </p:nvPicPr>
        <p:blipFill rotWithShape="1">
          <a:blip r:embed="rId4">
            <a:extLst>
              <a:ext uri="{28A0092B-C50C-407E-A947-70E740481C1C}">
                <a14:useLocalDpi xmlns:a14="http://schemas.microsoft.com/office/drawing/2010/main" val="0"/>
              </a:ext>
            </a:extLst>
          </a:blip>
          <a:srcRect l="-2045" t="235" r="2045" b="39734"/>
          <a:stretch/>
        </p:blipFill>
        <p:spPr bwMode="auto">
          <a:xfrm>
            <a:off x="2877993" y="1302327"/>
            <a:ext cx="3048000" cy="530629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https://upload.wikimedia.org/wikipedia/commons/thumb/7/7e/Double-slit_experiment_results_Tanamura_2.jpg/320px-Double-slit_experiment_results_Tanamura_2.jpg"/>
          <p:cNvPicPr>
            <a:picLocks noChangeAspect="1" noChangeArrowheads="1"/>
          </p:cNvPicPr>
          <p:nvPr/>
        </p:nvPicPr>
        <p:blipFill rotWithShape="1">
          <a:blip r:embed="rId4">
            <a:extLst>
              <a:ext uri="{28A0092B-C50C-407E-A947-70E740481C1C}">
                <a14:useLocalDpi xmlns:a14="http://schemas.microsoft.com/office/drawing/2010/main" val="0"/>
              </a:ext>
            </a:extLst>
          </a:blip>
          <a:srcRect t="59483"/>
          <a:stretch/>
        </p:blipFill>
        <p:spPr bwMode="auto">
          <a:xfrm>
            <a:off x="6376267" y="2078182"/>
            <a:ext cx="3048000" cy="358140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7366046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2" name="íṣľiḑe">
            <a:extLst>
              <a:ext uri="{FF2B5EF4-FFF2-40B4-BE49-F238E27FC236}">
                <a16:creationId xmlns:a16="http://schemas.microsoft.com/office/drawing/2014/main" id="{8AC4395B-A0A0-4D81-B628-E4F9AB374736}"/>
              </a:ext>
            </a:extLst>
          </p:cNvPr>
          <p:cNvSpPr>
            <a:spLocks noGrp="1"/>
          </p:cNvSpPr>
          <p:nvPr>
            <p:ph type="title"/>
          </p:nvPr>
        </p:nvSpPr>
        <p:spPr/>
        <p:txBody>
          <a:bodyPr>
            <a:normAutofit/>
          </a:bodyPr>
          <a:lstStyle/>
          <a:p>
            <a:pPr lvl="0"/>
            <a:r>
              <a:rPr lang="zh-CN" altLang="en-US" dirty="0"/>
              <a:t>无法解释！为什么不同测量方式光表现出不同的性质</a:t>
            </a:r>
          </a:p>
        </p:txBody>
      </p:sp>
      <p:sp>
        <p:nvSpPr>
          <p:cNvPr id="4" name="ïṩḷidê">
            <a:extLst>
              <a:ext uri="{FF2B5EF4-FFF2-40B4-BE49-F238E27FC236}">
                <a16:creationId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23</a:t>
            </a:fld>
            <a:endParaRPr lang="zh-CN" altLang="en-US"/>
          </a:p>
        </p:txBody>
      </p:sp>
      <p:pic>
        <p:nvPicPr>
          <p:cNvPr id="4100" name="Picture 4" descr="https://upload.wikimedia.org/wikipedia/commons/thumb/c/cd/Double-slit.svg/1920px-Double-slit.svg.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6372" y="1521464"/>
            <a:ext cx="9767046" cy="4674958"/>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矢量眼睛大眼睛PNG免扣素材免费下载- 大小14.21KB - 尺寸724*392 - 编号546384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509430" y="4904510"/>
            <a:ext cx="1021006" cy="644236"/>
          </a:xfrm>
          <a:prstGeom prst="rect">
            <a:avLst/>
          </a:prstGeom>
          <a:noFill/>
          <a:extLst>
            <a:ext uri="{909E8E84-426E-40DD-AFC4-6F175D3DCCD1}">
              <a14:hiddenFill xmlns:a14="http://schemas.microsoft.com/office/drawing/2010/main">
                <a:solidFill>
                  <a:srgbClr val="FFFFFF"/>
                </a:solidFill>
              </a14:hiddenFill>
            </a:ext>
          </a:extLst>
        </p:spPr>
      </p:pic>
      <p:grpSp>
        <p:nvGrpSpPr>
          <p:cNvPr id="7" name="组合 6"/>
          <p:cNvGrpSpPr/>
          <p:nvPr/>
        </p:nvGrpSpPr>
        <p:grpSpPr>
          <a:xfrm>
            <a:off x="8006541" y="1958686"/>
            <a:ext cx="1411702" cy="3963673"/>
            <a:chOff x="9759141" y="2015836"/>
            <a:chExt cx="1411702" cy="3963673"/>
          </a:xfrm>
        </p:grpSpPr>
        <p:sp>
          <p:nvSpPr>
            <p:cNvPr id="5" name="流程图: 数据 4"/>
            <p:cNvSpPr/>
            <p:nvPr/>
          </p:nvSpPr>
          <p:spPr>
            <a:xfrm>
              <a:off x="9759141" y="2015836"/>
              <a:ext cx="1411702" cy="3963673"/>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3793"/>
                <a:gd name="connsiteY0" fmla="*/ 10000 h 10000"/>
                <a:gd name="connsiteX1" fmla="*/ 2000 w 13793"/>
                <a:gd name="connsiteY1" fmla="*/ 0 h 10000"/>
                <a:gd name="connsiteX2" fmla="*/ 13793 w 13793"/>
                <a:gd name="connsiteY2" fmla="*/ 7778 h 10000"/>
                <a:gd name="connsiteX3" fmla="*/ 8000 w 13793"/>
                <a:gd name="connsiteY3" fmla="*/ 10000 h 10000"/>
                <a:gd name="connsiteX4" fmla="*/ 0 w 13793"/>
                <a:gd name="connsiteY4" fmla="*/ 10000 h 10000"/>
                <a:gd name="connsiteX0" fmla="*/ 0 w 13793"/>
                <a:gd name="connsiteY0" fmla="*/ 10000 h 21111"/>
                <a:gd name="connsiteX1" fmla="*/ 2000 w 13793"/>
                <a:gd name="connsiteY1" fmla="*/ 0 h 21111"/>
                <a:gd name="connsiteX2" fmla="*/ 13793 w 13793"/>
                <a:gd name="connsiteY2" fmla="*/ 7778 h 21111"/>
                <a:gd name="connsiteX3" fmla="*/ 13517 w 13793"/>
                <a:gd name="connsiteY3" fmla="*/ 21111 h 21111"/>
                <a:gd name="connsiteX4" fmla="*/ 0 w 13793"/>
                <a:gd name="connsiteY4" fmla="*/ 10000 h 21111"/>
                <a:gd name="connsiteX0" fmla="*/ 69 w 11793"/>
                <a:gd name="connsiteY0" fmla="*/ 13444 h 21111"/>
                <a:gd name="connsiteX1" fmla="*/ 0 w 11793"/>
                <a:gd name="connsiteY1" fmla="*/ 0 h 21111"/>
                <a:gd name="connsiteX2" fmla="*/ 11793 w 11793"/>
                <a:gd name="connsiteY2" fmla="*/ 7778 h 21111"/>
                <a:gd name="connsiteX3" fmla="*/ 11517 w 11793"/>
                <a:gd name="connsiteY3" fmla="*/ 21111 h 21111"/>
                <a:gd name="connsiteX4" fmla="*/ 69 w 11793"/>
                <a:gd name="connsiteY4" fmla="*/ 13444 h 21111"/>
                <a:gd name="connsiteX0" fmla="*/ 69 w 11621"/>
                <a:gd name="connsiteY0" fmla="*/ 13444 h 21111"/>
                <a:gd name="connsiteX1" fmla="*/ 0 w 11621"/>
                <a:gd name="connsiteY1" fmla="*/ 0 h 21111"/>
                <a:gd name="connsiteX2" fmla="*/ 11621 w 11621"/>
                <a:gd name="connsiteY2" fmla="*/ 7556 h 21111"/>
                <a:gd name="connsiteX3" fmla="*/ 11517 w 11621"/>
                <a:gd name="connsiteY3" fmla="*/ 21111 h 21111"/>
                <a:gd name="connsiteX4" fmla="*/ 69 w 11621"/>
                <a:gd name="connsiteY4" fmla="*/ 13444 h 21111"/>
                <a:gd name="connsiteX0" fmla="*/ 69 w 11712"/>
                <a:gd name="connsiteY0" fmla="*/ 13444 h 21192"/>
                <a:gd name="connsiteX1" fmla="*/ 0 w 11712"/>
                <a:gd name="connsiteY1" fmla="*/ 0 h 21192"/>
                <a:gd name="connsiteX2" fmla="*/ 11621 w 11712"/>
                <a:gd name="connsiteY2" fmla="*/ 7556 h 21192"/>
                <a:gd name="connsiteX3" fmla="*/ 11707 w 11712"/>
                <a:gd name="connsiteY3" fmla="*/ 21192 h 21192"/>
                <a:gd name="connsiteX4" fmla="*/ 69 w 11712"/>
                <a:gd name="connsiteY4" fmla="*/ 13444 h 21192"/>
                <a:gd name="connsiteX0" fmla="*/ 69 w 11712"/>
                <a:gd name="connsiteY0" fmla="*/ 13444 h 21192"/>
                <a:gd name="connsiteX1" fmla="*/ 0 w 11712"/>
                <a:gd name="connsiteY1" fmla="*/ 0 h 21192"/>
                <a:gd name="connsiteX2" fmla="*/ 11621 w 11712"/>
                <a:gd name="connsiteY2" fmla="*/ 7478 h 21192"/>
                <a:gd name="connsiteX3" fmla="*/ 11707 w 11712"/>
                <a:gd name="connsiteY3" fmla="*/ 21192 h 21192"/>
                <a:gd name="connsiteX4" fmla="*/ 69 w 11712"/>
                <a:gd name="connsiteY4" fmla="*/ 13444 h 21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12" h="21192">
                  <a:moveTo>
                    <a:pt x="69" y="13444"/>
                  </a:moveTo>
                  <a:cubicBezTo>
                    <a:pt x="46" y="8963"/>
                    <a:pt x="23" y="4481"/>
                    <a:pt x="0" y="0"/>
                  </a:cubicBezTo>
                  <a:lnTo>
                    <a:pt x="11621" y="7478"/>
                  </a:lnTo>
                  <a:cubicBezTo>
                    <a:pt x="11586" y="11996"/>
                    <a:pt x="11742" y="16674"/>
                    <a:pt x="11707" y="21192"/>
                  </a:cubicBezTo>
                  <a:lnTo>
                    <a:pt x="69" y="13444"/>
                  </a:ln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p:nvSpPr>
          <p:spPr>
            <a:xfrm>
              <a:off x="10075183" y="2788559"/>
              <a:ext cx="195035" cy="1917246"/>
            </a:xfrm>
            <a:custGeom>
              <a:avLst/>
              <a:gdLst>
                <a:gd name="connsiteX0" fmla="*/ 0 w 595085"/>
                <a:gd name="connsiteY0" fmla="*/ 0 h 682171"/>
                <a:gd name="connsiteX1" fmla="*/ 595085 w 595085"/>
                <a:gd name="connsiteY1" fmla="*/ 0 h 682171"/>
                <a:gd name="connsiteX2" fmla="*/ 595085 w 595085"/>
                <a:gd name="connsiteY2" fmla="*/ 682171 h 682171"/>
                <a:gd name="connsiteX3" fmla="*/ 0 w 595085"/>
                <a:gd name="connsiteY3" fmla="*/ 682171 h 682171"/>
                <a:gd name="connsiteX4" fmla="*/ 0 w 595085"/>
                <a:gd name="connsiteY4" fmla="*/ 0 h 682171"/>
                <a:gd name="connsiteX0" fmla="*/ 34925 w 595085"/>
                <a:gd name="connsiteY0" fmla="*/ 0 h 847271"/>
                <a:gd name="connsiteX1" fmla="*/ 595085 w 595085"/>
                <a:gd name="connsiteY1" fmla="*/ 165100 h 847271"/>
                <a:gd name="connsiteX2" fmla="*/ 595085 w 595085"/>
                <a:gd name="connsiteY2" fmla="*/ 847271 h 847271"/>
                <a:gd name="connsiteX3" fmla="*/ 0 w 595085"/>
                <a:gd name="connsiteY3" fmla="*/ 847271 h 847271"/>
                <a:gd name="connsiteX4" fmla="*/ 34925 w 595085"/>
                <a:gd name="connsiteY4" fmla="*/ 0 h 847271"/>
                <a:gd name="connsiteX0" fmla="*/ 34925 w 595085"/>
                <a:gd name="connsiteY0" fmla="*/ 0 h 847271"/>
                <a:gd name="connsiteX1" fmla="*/ 306160 w 595085"/>
                <a:gd name="connsiteY1" fmla="*/ 431800 h 847271"/>
                <a:gd name="connsiteX2" fmla="*/ 595085 w 595085"/>
                <a:gd name="connsiteY2" fmla="*/ 847271 h 847271"/>
                <a:gd name="connsiteX3" fmla="*/ 0 w 595085"/>
                <a:gd name="connsiteY3" fmla="*/ 847271 h 847271"/>
                <a:gd name="connsiteX4" fmla="*/ 34925 w 595085"/>
                <a:gd name="connsiteY4" fmla="*/ 0 h 847271"/>
                <a:gd name="connsiteX0" fmla="*/ 34925 w 595085"/>
                <a:gd name="connsiteY0" fmla="*/ 0 h 847271"/>
                <a:gd name="connsiteX1" fmla="*/ 223610 w 595085"/>
                <a:gd name="connsiteY1" fmla="*/ 187325 h 847271"/>
                <a:gd name="connsiteX2" fmla="*/ 595085 w 595085"/>
                <a:gd name="connsiteY2" fmla="*/ 847271 h 847271"/>
                <a:gd name="connsiteX3" fmla="*/ 0 w 595085"/>
                <a:gd name="connsiteY3" fmla="*/ 847271 h 847271"/>
                <a:gd name="connsiteX4" fmla="*/ 34925 w 595085"/>
                <a:gd name="connsiteY4" fmla="*/ 0 h 847271"/>
                <a:gd name="connsiteX0" fmla="*/ 6350 w 566510"/>
                <a:gd name="connsiteY0" fmla="*/ 0 h 1720396"/>
                <a:gd name="connsiteX1" fmla="*/ 195035 w 566510"/>
                <a:gd name="connsiteY1" fmla="*/ 187325 h 1720396"/>
                <a:gd name="connsiteX2" fmla="*/ 566510 w 566510"/>
                <a:gd name="connsiteY2" fmla="*/ 847271 h 1720396"/>
                <a:gd name="connsiteX3" fmla="*/ 0 w 566510"/>
                <a:gd name="connsiteY3" fmla="*/ 1720396 h 1720396"/>
                <a:gd name="connsiteX4" fmla="*/ 6350 w 566510"/>
                <a:gd name="connsiteY4" fmla="*/ 0 h 1720396"/>
                <a:gd name="connsiteX0" fmla="*/ 6350 w 195035"/>
                <a:gd name="connsiteY0" fmla="*/ 0 h 1917246"/>
                <a:gd name="connsiteX1" fmla="*/ 195035 w 195035"/>
                <a:gd name="connsiteY1" fmla="*/ 187325 h 1917246"/>
                <a:gd name="connsiteX2" fmla="*/ 195035 w 195035"/>
                <a:gd name="connsiteY2" fmla="*/ 1917246 h 1917246"/>
                <a:gd name="connsiteX3" fmla="*/ 0 w 195035"/>
                <a:gd name="connsiteY3" fmla="*/ 1720396 h 1917246"/>
                <a:gd name="connsiteX4" fmla="*/ 6350 w 195035"/>
                <a:gd name="connsiteY4" fmla="*/ 0 h 191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035" h="1917246">
                  <a:moveTo>
                    <a:pt x="6350" y="0"/>
                  </a:moveTo>
                  <a:lnTo>
                    <a:pt x="195035" y="187325"/>
                  </a:lnTo>
                  <a:lnTo>
                    <a:pt x="195035" y="1917246"/>
                  </a:lnTo>
                  <a:lnTo>
                    <a:pt x="0" y="1720396"/>
                  </a:lnTo>
                  <a:cubicBezTo>
                    <a:pt x="2117" y="1146931"/>
                    <a:pt x="4233" y="573465"/>
                    <a:pt x="6350" y="0"/>
                  </a:cubicBezTo>
                  <a:close/>
                </a:path>
              </a:pathLst>
            </a:custGeom>
            <a:solidFill>
              <a:srgbClr val="4A42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5"/>
            <p:cNvSpPr/>
            <p:nvPr/>
          </p:nvSpPr>
          <p:spPr>
            <a:xfrm>
              <a:off x="10506983" y="3207659"/>
              <a:ext cx="195035" cy="1917246"/>
            </a:xfrm>
            <a:custGeom>
              <a:avLst/>
              <a:gdLst>
                <a:gd name="connsiteX0" fmla="*/ 0 w 595085"/>
                <a:gd name="connsiteY0" fmla="*/ 0 h 682171"/>
                <a:gd name="connsiteX1" fmla="*/ 595085 w 595085"/>
                <a:gd name="connsiteY1" fmla="*/ 0 h 682171"/>
                <a:gd name="connsiteX2" fmla="*/ 595085 w 595085"/>
                <a:gd name="connsiteY2" fmla="*/ 682171 h 682171"/>
                <a:gd name="connsiteX3" fmla="*/ 0 w 595085"/>
                <a:gd name="connsiteY3" fmla="*/ 682171 h 682171"/>
                <a:gd name="connsiteX4" fmla="*/ 0 w 595085"/>
                <a:gd name="connsiteY4" fmla="*/ 0 h 682171"/>
                <a:gd name="connsiteX0" fmla="*/ 34925 w 595085"/>
                <a:gd name="connsiteY0" fmla="*/ 0 h 847271"/>
                <a:gd name="connsiteX1" fmla="*/ 595085 w 595085"/>
                <a:gd name="connsiteY1" fmla="*/ 165100 h 847271"/>
                <a:gd name="connsiteX2" fmla="*/ 595085 w 595085"/>
                <a:gd name="connsiteY2" fmla="*/ 847271 h 847271"/>
                <a:gd name="connsiteX3" fmla="*/ 0 w 595085"/>
                <a:gd name="connsiteY3" fmla="*/ 847271 h 847271"/>
                <a:gd name="connsiteX4" fmla="*/ 34925 w 595085"/>
                <a:gd name="connsiteY4" fmla="*/ 0 h 847271"/>
                <a:gd name="connsiteX0" fmla="*/ 34925 w 595085"/>
                <a:gd name="connsiteY0" fmla="*/ 0 h 847271"/>
                <a:gd name="connsiteX1" fmla="*/ 306160 w 595085"/>
                <a:gd name="connsiteY1" fmla="*/ 431800 h 847271"/>
                <a:gd name="connsiteX2" fmla="*/ 595085 w 595085"/>
                <a:gd name="connsiteY2" fmla="*/ 847271 h 847271"/>
                <a:gd name="connsiteX3" fmla="*/ 0 w 595085"/>
                <a:gd name="connsiteY3" fmla="*/ 847271 h 847271"/>
                <a:gd name="connsiteX4" fmla="*/ 34925 w 595085"/>
                <a:gd name="connsiteY4" fmla="*/ 0 h 847271"/>
                <a:gd name="connsiteX0" fmla="*/ 34925 w 595085"/>
                <a:gd name="connsiteY0" fmla="*/ 0 h 847271"/>
                <a:gd name="connsiteX1" fmla="*/ 223610 w 595085"/>
                <a:gd name="connsiteY1" fmla="*/ 187325 h 847271"/>
                <a:gd name="connsiteX2" fmla="*/ 595085 w 595085"/>
                <a:gd name="connsiteY2" fmla="*/ 847271 h 847271"/>
                <a:gd name="connsiteX3" fmla="*/ 0 w 595085"/>
                <a:gd name="connsiteY3" fmla="*/ 847271 h 847271"/>
                <a:gd name="connsiteX4" fmla="*/ 34925 w 595085"/>
                <a:gd name="connsiteY4" fmla="*/ 0 h 847271"/>
                <a:gd name="connsiteX0" fmla="*/ 6350 w 566510"/>
                <a:gd name="connsiteY0" fmla="*/ 0 h 1720396"/>
                <a:gd name="connsiteX1" fmla="*/ 195035 w 566510"/>
                <a:gd name="connsiteY1" fmla="*/ 187325 h 1720396"/>
                <a:gd name="connsiteX2" fmla="*/ 566510 w 566510"/>
                <a:gd name="connsiteY2" fmla="*/ 847271 h 1720396"/>
                <a:gd name="connsiteX3" fmla="*/ 0 w 566510"/>
                <a:gd name="connsiteY3" fmla="*/ 1720396 h 1720396"/>
                <a:gd name="connsiteX4" fmla="*/ 6350 w 566510"/>
                <a:gd name="connsiteY4" fmla="*/ 0 h 1720396"/>
                <a:gd name="connsiteX0" fmla="*/ 6350 w 195035"/>
                <a:gd name="connsiteY0" fmla="*/ 0 h 1917246"/>
                <a:gd name="connsiteX1" fmla="*/ 195035 w 195035"/>
                <a:gd name="connsiteY1" fmla="*/ 187325 h 1917246"/>
                <a:gd name="connsiteX2" fmla="*/ 195035 w 195035"/>
                <a:gd name="connsiteY2" fmla="*/ 1917246 h 1917246"/>
                <a:gd name="connsiteX3" fmla="*/ 0 w 195035"/>
                <a:gd name="connsiteY3" fmla="*/ 1720396 h 1917246"/>
                <a:gd name="connsiteX4" fmla="*/ 6350 w 195035"/>
                <a:gd name="connsiteY4" fmla="*/ 0 h 191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035" h="1917246">
                  <a:moveTo>
                    <a:pt x="6350" y="0"/>
                  </a:moveTo>
                  <a:lnTo>
                    <a:pt x="195035" y="187325"/>
                  </a:lnTo>
                  <a:lnTo>
                    <a:pt x="195035" y="1917246"/>
                  </a:lnTo>
                  <a:lnTo>
                    <a:pt x="0" y="1720396"/>
                  </a:lnTo>
                  <a:cubicBezTo>
                    <a:pt x="2117" y="1146931"/>
                    <a:pt x="4233" y="573465"/>
                    <a:pt x="6350" y="0"/>
                  </a:cubicBezTo>
                  <a:close/>
                </a:path>
              </a:pathLst>
            </a:custGeom>
            <a:solidFill>
              <a:srgbClr val="4A42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custDataLst>
      <p:tags r:id="rId1"/>
    </p:custDataLst>
    <p:extLst>
      <p:ext uri="{BB962C8B-B14F-4D97-AF65-F5344CB8AC3E}">
        <p14:creationId xmlns:p14="http://schemas.microsoft.com/office/powerpoint/2010/main" val="33343384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2" name="íṣľiḑe">
            <a:extLst>
              <a:ext uri="{FF2B5EF4-FFF2-40B4-BE49-F238E27FC236}">
                <a16:creationId xmlns:a16="http://schemas.microsoft.com/office/drawing/2014/main" id="{8AC4395B-A0A0-4D81-B628-E4F9AB374736}"/>
              </a:ext>
            </a:extLst>
          </p:cNvPr>
          <p:cNvSpPr>
            <a:spLocks noGrp="1"/>
          </p:cNvSpPr>
          <p:nvPr>
            <p:ph type="title"/>
          </p:nvPr>
        </p:nvSpPr>
        <p:spPr/>
        <p:txBody>
          <a:bodyPr>
            <a:normAutofit/>
          </a:bodyPr>
          <a:lstStyle/>
          <a:p>
            <a:pPr lvl="0"/>
            <a:r>
              <a:rPr lang="zh-CN" altLang="en-US" dirty="0"/>
              <a:t>探测器“观察”光子会对光子造成影响吗？</a:t>
            </a:r>
          </a:p>
        </p:txBody>
      </p:sp>
      <p:sp>
        <p:nvSpPr>
          <p:cNvPr id="4" name="ïṩḷidê">
            <a:extLst>
              <a:ext uri="{FF2B5EF4-FFF2-40B4-BE49-F238E27FC236}">
                <a16:creationId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24</a:t>
            </a:fld>
            <a:endParaRPr lang="zh-CN" altLang="en-US"/>
          </a:p>
        </p:txBody>
      </p:sp>
      <p:pic>
        <p:nvPicPr>
          <p:cNvPr id="4100" name="Picture 4" descr="https://upload.wikimedia.org/wikipedia/commons/thumb/c/cd/Double-slit.svg/1920px-Double-slit.svg.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6372" y="1521464"/>
            <a:ext cx="9767046" cy="4674958"/>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矢量眼睛大眼睛PNG免扣素材免费下载- 大小14.21KB - 尺寸724*392 - 编号546384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509430" y="4904510"/>
            <a:ext cx="1021006" cy="644236"/>
          </a:xfrm>
          <a:prstGeom prst="rect">
            <a:avLst/>
          </a:prstGeom>
          <a:noFill/>
          <a:extLst>
            <a:ext uri="{909E8E84-426E-40DD-AFC4-6F175D3DCCD1}">
              <a14:hiddenFill xmlns:a14="http://schemas.microsoft.com/office/drawing/2010/main">
                <a:solidFill>
                  <a:srgbClr val="FFFFFF"/>
                </a:solidFill>
              </a14:hiddenFill>
            </a:ext>
          </a:extLst>
        </p:spPr>
      </p:pic>
      <p:grpSp>
        <p:nvGrpSpPr>
          <p:cNvPr id="7" name="组合 6"/>
          <p:cNvGrpSpPr/>
          <p:nvPr/>
        </p:nvGrpSpPr>
        <p:grpSpPr>
          <a:xfrm>
            <a:off x="8006541" y="1958686"/>
            <a:ext cx="1411702" cy="3963673"/>
            <a:chOff x="9759141" y="2015836"/>
            <a:chExt cx="1411702" cy="3963673"/>
          </a:xfrm>
        </p:grpSpPr>
        <p:sp>
          <p:nvSpPr>
            <p:cNvPr id="5" name="流程图: 数据 4"/>
            <p:cNvSpPr/>
            <p:nvPr/>
          </p:nvSpPr>
          <p:spPr>
            <a:xfrm>
              <a:off x="9759141" y="2015836"/>
              <a:ext cx="1411702" cy="3963673"/>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3793"/>
                <a:gd name="connsiteY0" fmla="*/ 10000 h 10000"/>
                <a:gd name="connsiteX1" fmla="*/ 2000 w 13793"/>
                <a:gd name="connsiteY1" fmla="*/ 0 h 10000"/>
                <a:gd name="connsiteX2" fmla="*/ 13793 w 13793"/>
                <a:gd name="connsiteY2" fmla="*/ 7778 h 10000"/>
                <a:gd name="connsiteX3" fmla="*/ 8000 w 13793"/>
                <a:gd name="connsiteY3" fmla="*/ 10000 h 10000"/>
                <a:gd name="connsiteX4" fmla="*/ 0 w 13793"/>
                <a:gd name="connsiteY4" fmla="*/ 10000 h 10000"/>
                <a:gd name="connsiteX0" fmla="*/ 0 w 13793"/>
                <a:gd name="connsiteY0" fmla="*/ 10000 h 21111"/>
                <a:gd name="connsiteX1" fmla="*/ 2000 w 13793"/>
                <a:gd name="connsiteY1" fmla="*/ 0 h 21111"/>
                <a:gd name="connsiteX2" fmla="*/ 13793 w 13793"/>
                <a:gd name="connsiteY2" fmla="*/ 7778 h 21111"/>
                <a:gd name="connsiteX3" fmla="*/ 13517 w 13793"/>
                <a:gd name="connsiteY3" fmla="*/ 21111 h 21111"/>
                <a:gd name="connsiteX4" fmla="*/ 0 w 13793"/>
                <a:gd name="connsiteY4" fmla="*/ 10000 h 21111"/>
                <a:gd name="connsiteX0" fmla="*/ 69 w 11793"/>
                <a:gd name="connsiteY0" fmla="*/ 13444 h 21111"/>
                <a:gd name="connsiteX1" fmla="*/ 0 w 11793"/>
                <a:gd name="connsiteY1" fmla="*/ 0 h 21111"/>
                <a:gd name="connsiteX2" fmla="*/ 11793 w 11793"/>
                <a:gd name="connsiteY2" fmla="*/ 7778 h 21111"/>
                <a:gd name="connsiteX3" fmla="*/ 11517 w 11793"/>
                <a:gd name="connsiteY3" fmla="*/ 21111 h 21111"/>
                <a:gd name="connsiteX4" fmla="*/ 69 w 11793"/>
                <a:gd name="connsiteY4" fmla="*/ 13444 h 21111"/>
                <a:gd name="connsiteX0" fmla="*/ 69 w 11621"/>
                <a:gd name="connsiteY0" fmla="*/ 13444 h 21111"/>
                <a:gd name="connsiteX1" fmla="*/ 0 w 11621"/>
                <a:gd name="connsiteY1" fmla="*/ 0 h 21111"/>
                <a:gd name="connsiteX2" fmla="*/ 11621 w 11621"/>
                <a:gd name="connsiteY2" fmla="*/ 7556 h 21111"/>
                <a:gd name="connsiteX3" fmla="*/ 11517 w 11621"/>
                <a:gd name="connsiteY3" fmla="*/ 21111 h 21111"/>
                <a:gd name="connsiteX4" fmla="*/ 69 w 11621"/>
                <a:gd name="connsiteY4" fmla="*/ 13444 h 21111"/>
                <a:gd name="connsiteX0" fmla="*/ 69 w 11712"/>
                <a:gd name="connsiteY0" fmla="*/ 13444 h 21192"/>
                <a:gd name="connsiteX1" fmla="*/ 0 w 11712"/>
                <a:gd name="connsiteY1" fmla="*/ 0 h 21192"/>
                <a:gd name="connsiteX2" fmla="*/ 11621 w 11712"/>
                <a:gd name="connsiteY2" fmla="*/ 7556 h 21192"/>
                <a:gd name="connsiteX3" fmla="*/ 11707 w 11712"/>
                <a:gd name="connsiteY3" fmla="*/ 21192 h 21192"/>
                <a:gd name="connsiteX4" fmla="*/ 69 w 11712"/>
                <a:gd name="connsiteY4" fmla="*/ 13444 h 21192"/>
                <a:gd name="connsiteX0" fmla="*/ 69 w 11712"/>
                <a:gd name="connsiteY0" fmla="*/ 13444 h 21192"/>
                <a:gd name="connsiteX1" fmla="*/ 0 w 11712"/>
                <a:gd name="connsiteY1" fmla="*/ 0 h 21192"/>
                <a:gd name="connsiteX2" fmla="*/ 11621 w 11712"/>
                <a:gd name="connsiteY2" fmla="*/ 7478 h 21192"/>
                <a:gd name="connsiteX3" fmla="*/ 11707 w 11712"/>
                <a:gd name="connsiteY3" fmla="*/ 21192 h 21192"/>
                <a:gd name="connsiteX4" fmla="*/ 69 w 11712"/>
                <a:gd name="connsiteY4" fmla="*/ 13444 h 21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12" h="21192">
                  <a:moveTo>
                    <a:pt x="69" y="13444"/>
                  </a:moveTo>
                  <a:cubicBezTo>
                    <a:pt x="46" y="8963"/>
                    <a:pt x="23" y="4481"/>
                    <a:pt x="0" y="0"/>
                  </a:cubicBezTo>
                  <a:lnTo>
                    <a:pt x="11621" y="7478"/>
                  </a:lnTo>
                  <a:cubicBezTo>
                    <a:pt x="11586" y="11996"/>
                    <a:pt x="11742" y="16674"/>
                    <a:pt x="11707" y="21192"/>
                  </a:cubicBezTo>
                  <a:lnTo>
                    <a:pt x="69" y="13444"/>
                  </a:ln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p:nvSpPr>
          <p:spPr>
            <a:xfrm>
              <a:off x="10075183" y="2788559"/>
              <a:ext cx="195035" cy="1917246"/>
            </a:xfrm>
            <a:custGeom>
              <a:avLst/>
              <a:gdLst>
                <a:gd name="connsiteX0" fmla="*/ 0 w 595085"/>
                <a:gd name="connsiteY0" fmla="*/ 0 h 682171"/>
                <a:gd name="connsiteX1" fmla="*/ 595085 w 595085"/>
                <a:gd name="connsiteY1" fmla="*/ 0 h 682171"/>
                <a:gd name="connsiteX2" fmla="*/ 595085 w 595085"/>
                <a:gd name="connsiteY2" fmla="*/ 682171 h 682171"/>
                <a:gd name="connsiteX3" fmla="*/ 0 w 595085"/>
                <a:gd name="connsiteY3" fmla="*/ 682171 h 682171"/>
                <a:gd name="connsiteX4" fmla="*/ 0 w 595085"/>
                <a:gd name="connsiteY4" fmla="*/ 0 h 682171"/>
                <a:gd name="connsiteX0" fmla="*/ 34925 w 595085"/>
                <a:gd name="connsiteY0" fmla="*/ 0 h 847271"/>
                <a:gd name="connsiteX1" fmla="*/ 595085 w 595085"/>
                <a:gd name="connsiteY1" fmla="*/ 165100 h 847271"/>
                <a:gd name="connsiteX2" fmla="*/ 595085 w 595085"/>
                <a:gd name="connsiteY2" fmla="*/ 847271 h 847271"/>
                <a:gd name="connsiteX3" fmla="*/ 0 w 595085"/>
                <a:gd name="connsiteY3" fmla="*/ 847271 h 847271"/>
                <a:gd name="connsiteX4" fmla="*/ 34925 w 595085"/>
                <a:gd name="connsiteY4" fmla="*/ 0 h 847271"/>
                <a:gd name="connsiteX0" fmla="*/ 34925 w 595085"/>
                <a:gd name="connsiteY0" fmla="*/ 0 h 847271"/>
                <a:gd name="connsiteX1" fmla="*/ 306160 w 595085"/>
                <a:gd name="connsiteY1" fmla="*/ 431800 h 847271"/>
                <a:gd name="connsiteX2" fmla="*/ 595085 w 595085"/>
                <a:gd name="connsiteY2" fmla="*/ 847271 h 847271"/>
                <a:gd name="connsiteX3" fmla="*/ 0 w 595085"/>
                <a:gd name="connsiteY3" fmla="*/ 847271 h 847271"/>
                <a:gd name="connsiteX4" fmla="*/ 34925 w 595085"/>
                <a:gd name="connsiteY4" fmla="*/ 0 h 847271"/>
                <a:gd name="connsiteX0" fmla="*/ 34925 w 595085"/>
                <a:gd name="connsiteY0" fmla="*/ 0 h 847271"/>
                <a:gd name="connsiteX1" fmla="*/ 223610 w 595085"/>
                <a:gd name="connsiteY1" fmla="*/ 187325 h 847271"/>
                <a:gd name="connsiteX2" fmla="*/ 595085 w 595085"/>
                <a:gd name="connsiteY2" fmla="*/ 847271 h 847271"/>
                <a:gd name="connsiteX3" fmla="*/ 0 w 595085"/>
                <a:gd name="connsiteY3" fmla="*/ 847271 h 847271"/>
                <a:gd name="connsiteX4" fmla="*/ 34925 w 595085"/>
                <a:gd name="connsiteY4" fmla="*/ 0 h 847271"/>
                <a:gd name="connsiteX0" fmla="*/ 6350 w 566510"/>
                <a:gd name="connsiteY0" fmla="*/ 0 h 1720396"/>
                <a:gd name="connsiteX1" fmla="*/ 195035 w 566510"/>
                <a:gd name="connsiteY1" fmla="*/ 187325 h 1720396"/>
                <a:gd name="connsiteX2" fmla="*/ 566510 w 566510"/>
                <a:gd name="connsiteY2" fmla="*/ 847271 h 1720396"/>
                <a:gd name="connsiteX3" fmla="*/ 0 w 566510"/>
                <a:gd name="connsiteY3" fmla="*/ 1720396 h 1720396"/>
                <a:gd name="connsiteX4" fmla="*/ 6350 w 566510"/>
                <a:gd name="connsiteY4" fmla="*/ 0 h 1720396"/>
                <a:gd name="connsiteX0" fmla="*/ 6350 w 195035"/>
                <a:gd name="connsiteY0" fmla="*/ 0 h 1917246"/>
                <a:gd name="connsiteX1" fmla="*/ 195035 w 195035"/>
                <a:gd name="connsiteY1" fmla="*/ 187325 h 1917246"/>
                <a:gd name="connsiteX2" fmla="*/ 195035 w 195035"/>
                <a:gd name="connsiteY2" fmla="*/ 1917246 h 1917246"/>
                <a:gd name="connsiteX3" fmla="*/ 0 w 195035"/>
                <a:gd name="connsiteY3" fmla="*/ 1720396 h 1917246"/>
                <a:gd name="connsiteX4" fmla="*/ 6350 w 195035"/>
                <a:gd name="connsiteY4" fmla="*/ 0 h 191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035" h="1917246">
                  <a:moveTo>
                    <a:pt x="6350" y="0"/>
                  </a:moveTo>
                  <a:lnTo>
                    <a:pt x="195035" y="187325"/>
                  </a:lnTo>
                  <a:lnTo>
                    <a:pt x="195035" y="1917246"/>
                  </a:lnTo>
                  <a:lnTo>
                    <a:pt x="0" y="1720396"/>
                  </a:lnTo>
                  <a:cubicBezTo>
                    <a:pt x="2117" y="1146931"/>
                    <a:pt x="4233" y="573465"/>
                    <a:pt x="6350" y="0"/>
                  </a:cubicBezTo>
                  <a:close/>
                </a:path>
              </a:pathLst>
            </a:custGeom>
            <a:solidFill>
              <a:srgbClr val="4A42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5"/>
            <p:cNvSpPr/>
            <p:nvPr/>
          </p:nvSpPr>
          <p:spPr>
            <a:xfrm>
              <a:off x="10506983" y="3207659"/>
              <a:ext cx="195035" cy="1917246"/>
            </a:xfrm>
            <a:custGeom>
              <a:avLst/>
              <a:gdLst>
                <a:gd name="connsiteX0" fmla="*/ 0 w 595085"/>
                <a:gd name="connsiteY0" fmla="*/ 0 h 682171"/>
                <a:gd name="connsiteX1" fmla="*/ 595085 w 595085"/>
                <a:gd name="connsiteY1" fmla="*/ 0 h 682171"/>
                <a:gd name="connsiteX2" fmla="*/ 595085 w 595085"/>
                <a:gd name="connsiteY2" fmla="*/ 682171 h 682171"/>
                <a:gd name="connsiteX3" fmla="*/ 0 w 595085"/>
                <a:gd name="connsiteY3" fmla="*/ 682171 h 682171"/>
                <a:gd name="connsiteX4" fmla="*/ 0 w 595085"/>
                <a:gd name="connsiteY4" fmla="*/ 0 h 682171"/>
                <a:gd name="connsiteX0" fmla="*/ 34925 w 595085"/>
                <a:gd name="connsiteY0" fmla="*/ 0 h 847271"/>
                <a:gd name="connsiteX1" fmla="*/ 595085 w 595085"/>
                <a:gd name="connsiteY1" fmla="*/ 165100 h 847271"/>
                <a:gd name="connsiteX2" fmla="*/ 595085 w 595085"/>
                <a:gd name="connsiteY2" fmla="*/ 847271 h 847271"/>
                <a:gd name="connsiteX3" fmla="*/ 0 w 595085"/>
                <a:gd name="connsiteY3" fmla="*/ 847271 h 847271"/>
                <a:gd name="connsiteX4" fmla="*/ 34925 w 595085"/>
                <a:gd name="connsiteY4" fmla="*/ 0 h 847271"/>
                <a:gd name="connsiteX0" fmla="*/ 34925 w 595085"/>
                <a:gd name="connsiteY0" fmla="*/ 0 h 847271"/>
                <a:gd name="connsiteX1" fmla="*/ 306160 w 595085"/>
                <a:gd name="connsiteY1" fmla="*/ 431800 h 847271"/>
                <a:gd name="connsiteX2" fmla="*/ 595085 w 595085"/>
                <a:gd name="connsiteY2" fmla="*/ 847271 h 847271"/>
                <a:gd name="connsiteX3" fmla="*/ 0 w 595085"/>
                <a:gd name="connsiteY3" fmla="*/ 847271 h 847271"/>
                <a:gd name="connsiteX4" fmla="*/ 34925 w 595085"/>
                <a:gd name="connsiteY4" fmla="*/ 0 h 847271"/>
                <a:gd name="connsiteX0" fmla="*/ 34925 w 595085"/>
                <a:gd name="connsiteY0" fmla="*/ 0 h 847271"/>
                <a:gd name="connsiteX1" fmla="*/ 223610 w 595085"/>
                <a:gd name="connsiteY1" fmla="*/ 187325 h 847271"/>
                <a:gd name="connsiteX2" fmla="*/ 595085 w 595085"/>
                <a:gd name="connsiteY2" fmla="*/ 847271 h 847271"/>
                <a:gd name="connsiteX3" fmla="*/ 0 w 595085"/>
                <a:gd name="connsiteY3" fmla="*/ 847271 h 847271"/>
                <a:gd name="connsiteX4" fmla="*/ 34925 w 595085"/>
                <a:gd name="connsiteY4" fmla="*/ 0 h 847271"/>
                <a:gd name="connsiteX0" fmla="*/ 6350 w 566510"/>
                <a:gd name="connsiteY0" fmla="*/ 0 h 1720396"/>
                <a:gd name="connsiteX1" fmla="*/ 195035 w 566510"/>
                <a:gd name="connsiteY1" fmla="*/ 187325 h 1720396"/>
                <a:gd name="connsiteX2" fmla="*/ 566510 w 566510"/>
                <a:gd name="connsiteY2" fmla="*/ 847271 h 1720396"/>
                <a:gd name="connsiteX3" fmla="*/ 0 w 566510"/>
                <a:gd name="connsiteY3" fmla="*/ 1720396 h 1720396"/>
                <a:gd name="connsiteX4" fmla="*/ 6350 w 566510"/>
                <a:gd name="connsiteY4" fmla="*/ 0 h 1720396"/>
                <a:gd name="connsiteX0" fmla="*/ 6350 w 195035"/>
                <a:gd name="connsiteY0" fmla="*/ 0 h 1917246"/>
                <a:gd name="connsiteX1" fmla="*/ 195035 w 195035"/>
                <a:gd name="connsiteY1" fmla="*/ 187325 h 1917246"/>
                <a:gd name="connsiteX2" fmla="*/ 195035 w 195035"/>
                <a:gd name="connsiteY2" fmla="*/ 1917246 h 1917246"/>
                <a:gd name="connsiteX3" fmla="*/ 0 w 195035"/>
                <a:gd name="connsiteY3" fmla="*/ 1720396 h 1917246"/>
                <a:gd name="connsiteX4" fmla="*/ 6350 w 195035"/>
                <a:gd name="connsiteY4" fmla="*/ 0 h 191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035" h="1917246">
                  <a:moveTo>
                    <a:pt x="6350" y="0"/>
                  </a:moveTo>
                  <a:lnTo>
                    <a:pt x="195035" y="187325"/>
                  </a:lnTo>
                  <a:lnTo>
                    <a:pt x="195035" y="1917246"/>
                  </a:lnTo>
                  <a:lnTo>
                    <a:pt x="0" y="1720396"/>
                  </a:lnTo>
                  <a:cubicBezTo>
                    <a:pt x="2117" y="1146931"/>
                    <a:pt x="4233" y="573465"/>
                    <a:pt x="6350" y="0"/>
                  </a:cubicBezTo>
                  <a:close/>
                </a:path>
              </a:pathLst>
            </a:custGeom>
            <a:solidFill>
              <a:srgbClr val="4A42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custDataLst>
      <p:tags r:id="rId1"/>
    </p:custDataLst>
    <p:extLst>
      <p:ext uri="{BB962C8B-B14F-4D97-AF65-F5344CB8AC3E}">
        <p14:creationId xmlns:p14="http://schemas.microsoft.com/office/powerpoint/2010/main" val="26104618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2" name="íṣľiḑe">
            <a:extLst>
              <a:ext uri="{FF2B5EF4-FFF2-40B4-BE49-F238E27FC236}">
                <a16:creationId xmlns:a16="http://schemas.microsoft.com/office/drawing/2014/main" id="{8AC4395B-A0A0-4D81-B628-E4F9AB374736}"/>
              </a:ext>
            </a:extLst>
          </p:cNvPr>
          <p:cNvSpPr>
            <a:spLocks noGrp="1"/>
          </p:cNvSpPr>
          <p:nvPr>
            <p:ph type="title"/>
          </p:nvPr>
        </p:nvSpPr>
        <p:spPr/>
        <p:txBody>
          <a:bodyPr>
            <a:normAutofit/>
          </a:bodyPr>
          <a:lstStyle/>
          <a:p>
            <a:pPr lvl="0"/>
            <a:r>
              <a:rPr lang="zh-CN" altLang="en-US" dirty="0"/>
              <a:t>量子擦除实验（上）</a:t>
            </a:r>
          </a:p>
        </p:txBody>
      </p:sp>
      <p:sp>
        <p:nvSpPr>
          <p:cNvPr id="4" name="ïṩḷidê">
            <a:extLst>
              <a:ext uri="{FF2B5EF4-FFF2-40B4-BE49-F238E27FC236}">
                <a16:creationId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25</a:t>
            </a:fld>
            <a:endParaRPr lang="zh-CN" altLang="en-US"/>
          </a:p>
        </p:txBody>
      </p:sp>
      <p:pic>
        <p:nvPicPr>
          <p:cNvPr id="12" name="Picture 4" descr="https://upload.wikimedia.org/wikipedia/commons/thumb/c/cd/Double-slit.svg/1920px-Double-slit.svg.png"/>
          <p:cNvPicPr>
            <a:picLocks noChangeAspect="1" noChangeArrowheads="1"/>
          </p:cNvPicPr>
          <p:nvPr/>
        </p:nvPicPr>
        <p:blipFill rotWithShape="1">
          <a:blip r:embed="rId4">
            <a:extLst>
              <a:ext uri="{28A0092B-C50C-407E-A947-70E740481C1C}">
                <a14:useLocalDpi xmlns:a14="http://schemas.microsoft.com/office/drawing/2010/main" val="0"/>
              </a:ext>
            </a:extLst>
          </a:blip>
          <a:srcRect t="28035" r="59211" b="24968"/>
          <a:stretch/>
        </p:blipFill>
        <p:spPr bwMode="auto">
          <a:xfrm>
            <a:off x="270572" y="2489200"/>
            <a:ext cx="3983928" cy="2197100"/>
          </a:xfrm>
          <a:prstGeom prst="rect">
            <a:avLst/>
          </a:prstGeom>
          <a:noFill/>
          <a:extLst>
            <a:ext uri="{909E8E84-426E-40DD-AFC4-6F175D3DCCD1}">
              <a14:hiddenFill xmlns:a14="http://schemas.microsoft.com/office/drawing/2010/main">
                <a:solidFill>
                  <a:srgbClr val="FFFFFF"/>
                </a:solidFill>
              </a14:hiddenFill>
            </a:ext>
          </a:extLst>
        </p:spPr>
      </p:pic>
      <p:sp>
        <p:nvSpPr>
          <p:cNvPr id="3" name="流程图: 可选过程 2"/>
          <p:cNvSpPr/>
          <p:nvPr/>
        </p:nvSpPr>
        <p:spPr>
          <a:xfrm>
            <a:off x="4305300" y="2895600"/>
            <a:ext cx="469900" cy="1054100"/>
          </a:xfrm>
          <a:prstGeom prst="flowChartAlternateProcess">
            <a:avLst/>
          </a:prstGeom>
          <a:solidFill>
            <a:srgbClr val="F973D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BBO</a:t>
            </a:r>
            <a:endParaRPr lang="zh-CN" altLang="en-US" dirty="0"/>
          </a:p>
        </p:txBody>
      </p:sp>
      <p:cxnSp>
        <p:nvCxnSpPr>
          <p:cNvPr id="9" name="直接箭头连接符 8"/>
          <p:cNvCxnSpPr/>
          <p:nvPr/>
        </p:nvCxnSpPr>
        <p:spPr>
          <a:xfrm flipV="1">
            <a:off x="4864100" y="2095500"/>
            <a:ext cx="1790700" cy="119380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1" name="直接箭头连接符 10"/>
          <p:cNvCxnSpPr/>
          <p:nvPr/>
        </p:nvCxnSpPr>
        <p:spPr>
          <a:xfrm>
            <a:off x="4876800" y="3365500"/>
            <a:ext cx="1790700" cy="113030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8" name="圆角矩形 17"/>
          <p:cNvSpPr/>
          <p:nvPr/>
        </p:nvSpPr>
        <p:spPr>
          <a:xfrm>
            <a:off x="6985000" y="1689100"/>
            <a:ext cx="1447800" cy="508000"/>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探测器</a:t>
            </a:r>
            <a:r>
              <a:rPr lang="en-US" altLang="zh-CN" dirty="0"/>
              <a:t>A</a:t>
            </a:r>
            <a:endParaRPr lang="zh-CN" altLang="en-US" dirty="0"/>
          </a:p>
        </p:txBody>
      </p:sp>
      <p:pic>
        <p:nvPicPr>
          <p:cNvPr id="19" name="图片 18"/>
          <p:cNvPicPr>
            <a:picLocks noChangeAspect="1"/>
          </p:cNvPicPr>
          <p:nvPr/>
        </p:nvPicPr>
        <p:blipFill>
          <a:blip r:embed="rId5"/>
          <a:stretch>
            <a:fillRect/>
          </a:stretch>
        </p:blipFill>
        <p:spPr>
          <a:xfrm>
            <a:off x="7024687" y="3109912"/>
            <a:ext cx="3781425" cy="3533775"/>
          </a:xfrm>
          <a:prstGeom prst="rect">
            <a:avLst/>
          </a:prstGeom>
        </p:spPr>
      </p:pic>
      <p:sp>
        <p:nvSpPr>
          <p:cNvPr id="25" name="圆角矩形 24"/>
          <p:cNvSpPr/>
          <p:nvPr/>
        </p:nvSpPr>
        <p:spPr>
          <a:xfrm>
            <a:off x="9867900" y="3390900"/>
            <a:ext cx="1447800" cy="508000"/>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探测器</a:t>
            </a:r>
            <a:r>
              <a:rPr lang="en-US" altLang="zh-CN" dirty="0"/>
              <a:t>B</a:t>
            </a:r>
            <a:endParaRPr lang="zh-CN" altLang="en-US" dirty="0"/>
          </a:p>
        </p:txBody>
      </p:sp>
    </p:spTree>
    <p:custDataLst>
      <p:tags r:id="rId1"/>
    </p:custDataLst>
    <p:extLst>
      <p:ext uri="{BB962C8B-B14F-4D97-AF65-F5344CB8AC3E}">
        <p14:creationId xmlns:p14="http://schemas.microsoft.com/office/powerpoint/2010/main" val="408958778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2" name="íṣľiḑe">
            <a:extLst>
              <a:ext uri="{FF2B5EF4-FFF2-40B4-BE49-F238E27FC236}">
                <a16:creationId xmlns:a16="http://schemas.microsoft.com/office/drawing/2014/main" id="{8AC4395B-A0A0-4D81-B628-E4F9AB374736}"/>
              </a:ext>
            </a:extLst>
          </p:cNvPr>
          <p:cNvSpPr>
            <a:spLocks noGrp="1"/>
          </p:cNvSpPr>
          <p:nvPr>
            <p:ph type="title"/>
          </p:nvPr>
        </p:nvSpPr>
        <p:spPr/>
        <p:txBody>
          <a:bodyPr>
            <a:normAutofit/>
          </a:bodyPr>
          <a:lstStyle/>
          <a:p>
            <a:pPr lvl="0"/>
            <a:r>
              <a:rPr lang="zh-CN" altLang="en-US" dirty="0"/>
              <a:t>量子擦除实验（中）</a:t>
            </a:r>
          </a:p>
        </p:txBody>
      </p:sp>
      <p:sp>
        <p:nvSpPr>
          <p:cNvPr id="4" name="ïṩḷidê">
            <a:extLst>
              <a:ext uri="{FF2B5EF4-FFF2-40B4-BE49-F238E27FC236}">
                <a16:creationId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26</a:t>
            </a:fld>
            <a:endParaRPr lang="zh-CN" altLang="en-US"/>
          </a:p>
        </p:txBody>
      </p:sp>
      <p:pic>
        <p:nvPicPr>
          <p:cNvPr id="12" name="Picture 4" descr="https://upload.wikimedia.org/wikipedia/commons/thumb/c/cd/Double-slit.svg/1920px-Double-slit.svg.png"/>
          <p:cNvPicPr>
            <a:picLocks noChangeAspect="1" noChangeArrowheads="1"/>
          </p:cNvPicPr>
          <p:nvPr/>
        </p:nvPicPr>
        <p:blipFill rotWithShape="1">
          <a:blip r:embed="rId4">
            <a:extLst>
              <a:ext uri="{28A0092B-C50C-407E-A947-70E740481C1C}">
                <a14:useLocalDpi xmlns:a14="http://schemas.microsoft.com/office/drawing/2010/main" val="0"/>
              </a:ext>
            </a:extLst>
          </a:blip>
          <a:srcRect t="28035" r="59211" b="24968"/>
          <a:stretch/>
        </p:blipFill>
        <p:spPr bwMode="auto">
          <a:xfrm>
            <a:off x="270572" y="2489200"/>
            <a:ext cx="3983928" cy="2197100"/>
          </a:xfrm>
          <a:prstGeom prst="rect">
            <a:avLst/>
          </a:prstGeom>
          <a:noFill/>
          <a:extLst>
            <a:ext uri="{909E8E84-426E-40DD-AFC4-6F175D3DCCD1}">
              <a14:hiddenFill xmlns:a14="http://schemas.microsoft.com/office/drawing/2010/main">
                <a:solidFill>
                  <a:srgbClr val="FFFFFF"/>
                </a:solidFill>
              </a14:hiddenFill>
            </a:ext>
          </a:extLst>
        </p:spPr>
      </p:pic>
      <p:sp>
        <p:nvSpPr>
          <p:cNvPr id="3" name="流程图: 可选过程 2"/>
          <p:cNvSpPr/>
          <p:nvPr/>
        </p:nvSpPr>
        <p:spPr>
          <a:xfrm>
            <a:off x="4305300" y="2895600"/>
            <a:ext cx="469900" cy="1054100"/>
          </a:xfrm>
          <a:prstGeom prst="flowChartAlternateProcess">
            <a:avLst/>
          </a:prstGeom>
          <a:solidFill>
            <a:srgbClr val="F973D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BBO</a:t>
            </a:r>
            <a:endParaRPr lang="zh-CN" altLang="en-US" dirty="0"/>
          </a:p>
        </p:txBody>
      </p:sp>
      <p:cxnSp>
        <p:nvCxnSpPr>
          <p:cNvPr id="9" name="直接箭头连接符 8"/>
          <p:cNvCxnSpPr/>
          <p:nvPr/>
        </p:nvCxnSpPr>
        <p:spPr>
          <a:xfrm flipV="1">
            <a:off x="4864100" y="2095500"/>
            <a:ext cx="1790700" cy="119380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1" name="直接箭头连接符 10"/>
          <p:cNvCxnSpPr/>
          <p:nvPr/>
        </p:nvCxnSpPr>
        <p:spPr>
          <a:xfrm>
            <a:off x="4876800" y="3365500"/>
            <a:ext cx="1790700" cy="113030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8" name="圆角矩形 17"/>
          <p:cNvSpPr/>
          <p:nvPr/>
        </p:nvSpPr>
        <p:spPr>
          <a:xfrm>
            <a:off x="6985000" y="1689100"/>
            <a:ext cx="1447800" cy="508000"/>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探测器</a:t>
            </a:r>
            <a:r>
              <a:rPr lang="en-US" altLang="zh-CN" dirty="0"/>
              <a:t>A</a:t>
            </a:r>
            <a:endParaRPr lang="zh-CN" altLang="en-US" dirty="0"/>
          </a:p>
        </p:txBody>
      </p:sp>
      <p:pic>
        <p:nvPicPr>
          <p:cNvPr id="5" name="图片 4"/>
          <p:cNvPicPr>
            <a:picLocks noChangeAspect="1"/>
          </p:cNvPicPr>
          <p:nvPr/>
        </p:nvPicPr>
        <p:blipFill rotWithShape="1">
          <a:blip r:embed="rId5"/>
          <a:srcRect l="2979"/>
          <a:stretch/>
        </p:blipFill>
        <p:spPr>
          <a:xfrm>
            <a:off x="7010399" y="3302000"/>
            <a:ext cx="3825875" cy="3467100"/>
          </a:xfrm>
          <a:prstGeom prst="rect">
            <a:avLst/>
          </a:prstGeom>
        </p:spPr>
      </p:pic>
      <p:sp>
        <p:nvSpPr>
          <p:cNvPr id="25" name="圆角矩形 24"/>
          <p:cNvSpPr/>
          <p:nvPr/>
        </p:nvSpPr>
        <p:spPr>
          <a:xfrm>
            <a:off x="10401300" y="4978400"/>
            <a:ext cx="1447800" cy="508000"/>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探测器</a:t>
            </a:r>
            <a:r>
              <a:rPr lang="en-US" altLang="zh-CN" dirty="0"/>
              <a:t>B</a:t>
            </a:r>
            <a:endParaRPr lang="zh-CN" altLang="en-US" dirty="0"/>
          </a:p>
        </p:txBody>
      </p:sp>
    </p:spTree>
    <p:custDataLst>
      <p:tags r:id="rId1"/>
    </p:custDataLst>
    <p:extLst>
      <p:ext uri="{BB962C8B-B14F-4D97-AF65-F5344CB8AC3E}">
        <p14:creationId xmlns:p14="http://schemas.microsoft.com/office/powerpoint/2010/main" val="21812994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2" name="íṣľiḑe">
            <a:extLst>
              <a:ext uri="{FF2B5EF4-FFF2-40B4-BE49-F238E27FC236}">
                <a16:creationId xmlns:a16="http://schemas.microsoft.com/office/drawing/2014/main" id="{8AC4395B-A0A0-4D81-B628-E4F9AB374736}"/>
              </a:ext>
            </a:extLst>
          </p:cNvPr>
          <p:cNvSpPr>
            <a:spLocks noGrp="1"/>
          </p:cNvSpPr>
          <p:nvPr>
            <p:ph type="title"/>
          </p:nvPr>
        </p:nvSpPr>
        <p:spPr/>
        <p:txBody>
          <a:bodyPr>
            <a:normAutofit/>
          </a:bodyPr>
          <a:lstStyle/>
          <a:p>
            <a:pPr lvl="0"/>
            <a:r>
              <a:rPr lang="zh-CN" altLang="en-US" dirty="0"/>
              <a:t>量子擦除实验（下）</a:t>
            </a:r>
          </a:p>
        </p:txBody>
      </p:sp>
      <p:sp>
        <p:nvSpPr>
          <p:cNvPr id="4" name="ïṩḷidê">
            <a:extLst>
              <a:ext uri="{FF2B5EF4-FFF2-40B4-BE49-F238E27FC236}">
                <a16:creationId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27</a:t>
            </a:fld>
            <a:endParaRPr lang="zh-CN" altLang="en-US"/>
          </a:p>
        </p:txBody>
      </p:sp>
      <p:pic>
        <p:nvPicPr>
          <p:cNvPr id="12" name="Picture 4" descr="https://upload.wikimedia.org/wikipedia/commons/thumb/c/cd/Double-slit.svg/1920px-Double-slit.svg.png"/>
          <p:cNvPicPr>
            <a:picLocks noChangeAspect="1" noChangeArrowheads="1"/>
          </p:cNvPicPr>
          <p:nvPr/>
        </p:nvPicPr>
        <p:blipFill rotWithShape="1">
          <a:blip r:embed="rId4">
            <a:extLst>
              <a:ext uri="{28A0092B-C50C-407E-A947-70E740481C1C}">
                <a14:useLocalDpi xmlns:a14="http://schemas.microsoft.com/office/drawing/2010/main" val="0"/>
              </a:ext>
            </a:extLst>
          </a:blip>
          <a:srcRect t="28035" r="59211" b="24968"/>
          <a:stretch/>
        </p:blipFill>
        <p:spPr bwMode="auto">
          <a:xfrm>
            <a:off x="270572" y="2489200"/>
            <a:ext cx="3983928" cy="2197100"/>
          </a:xfrm>
          <a:prstGeom prst="rect">
            <a:avLst/>
          </a:prstGeom>
          <a:noFill/>
          <a:extLst>
            <a:ext uri="{909E8E84-426E-40DD-AFC4-6F175D3DCCD1}">
              <a14:hiddenFill xmlns:a14="http://schemas.microsoft.com/office/drawing/2010/main">
                <a:solidFill>
                  <a:srgbClr val="FFFFFF"/>
                </a:solidFill>
              </a14:hiddenFill>
            </a:ext>
          </a:extLst>
        </p:spPr>
      </p:pic>
      <p:sp>
        <p:nvSpPr>
          <p:cNvPr id="3" name="流程图: 可选过程 2"/>
          <p:cNvSpPr/>
          <p:nvPr/>
        </p:nvSpPr>
        <p:spPr>
          <a:xfrm>
            <a:off x="4305300" y="2895600"/>
            <a:ext cx="469900" cy="1054100"/>
          </a:xfrm>
          <a:prstGeom prst="flowChartAlternateProcess">
            <a:avLst/>
          </a:prstGeom>
          <a:solidFill>
            <a:srgbClr val="F973D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BBO</a:t>
            </a:r>
            <a:endParaRPr lang="zh-CN" altLang="en-US" dirty="0"/>
          </a:p>
        </p:txBody>
      </p:sp>
      <p:cxnSp>
        <p:nvCxnSpPr>
          <p:cNvPr id="9" name="直接箭头连接符 8"/>
          <p:cNvCxnSpPr/>
          <p:nvPr/>
        </p:nvCxnSpPr>
        <p:spPr>
          <a:xfrm flipV="1">
            <a:off x="4864100" y="2095500"/>
            <a:ext cx="1790700" cy="119380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1" name="直接箭头连接符 10"/>
          <p:cNvCxnSpPr/>
          <p:nvPr/>
        </p:nvCxnSpPr>
        <p:spPr>
          <a:xfrm>
            <a:off x="4876800" y="3365500"/>
            <a:ext cx="1790700" cy="113030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8" name="圆角矩形 17"/>
          <p:cNvSpPr/>
          <p:nvPr/>
        </p:nvSpPr>
        <p:spPr>
          <a:xfrm>
            <a:off x="6985000" y="1689100"/>
            <a:ext cx="1447800" cy="508000"/>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探测器</a:t>
            </a:r>
            <a:r>
              <a:rPr lang="en-US" altLang="zh-CN" dirty="0"/>
              <a:t>A</a:t>
            </a:r>
            <a:endParaRPr lang="zh-CN" altLang="en-US" dirty="0"/>
          </a:p>
        </p:txBody>
      </p:sp>
      <p:sp>
        <p:nvSpPr>
          <p:cNvPr id="6" name="椭圆 5"/>
          <p:cNvSpPr/>
          <p:nvPr/>
        </p:nvSpPr>
        <p:spPr>
          <a:xfrm rot="19523041">
            <a:off x="5716100" y="2213842"/>
            <a:ext cx="311398" cy="677799"/>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文本框 6"/>
          <p:cNvSpPr txBox="1"/>
          <p:nvPr/>
        </p:nvSpPr>
        <p:spPr>
          <a:xfrm>
            <a:off x="5162309" y="1967696"/>
            <a:ext cx="877163" cy="369332"/>
          </a:xfrm>
          <a:prstGeom prst="rect">
            <a:avLst/>
          </a:prstGeom>
          <a:noFill/>
        </p:spPr>
        <p:txBody>
          <a:bodyPr wrap="none" rtlCol="0">
            <a:spAutoFit/>
          </a:bodyPr>
          <a:lstStyle/>
          <a:p>
            <a:r>
              <a:rPr lang="zh-CN" altLang="en-US" dirty="0"/>
              <a:t>起偏器</a:t>
            </a:r>
          </a:p>
        </p:txBody>
      </p:sp>
      <p:sp>
        <p:nvSpPr>
          <p:cNvPr id="8" name="左箭头 7"/>
          <p:cNvSpPr/>
          <p:nvPr/>
        </p:nvSpPr>
        <p:spPr>
          <a:xfrm rot="2805894">
            <a:off x="5995685" y="1886673"/>
            <a:ext cx="324091" cy="173620"/>
          </a:xfrm>
          <a:prstGeom prst="lef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左箭头 14"/>
          <p:cNvSpPr/>
          <p:nvPr/>
        </p:nvSpPr>
        <p:spPr>
          <a:xfrm rot="5184861">
            <a:off x="5048490" y="2721979"/>
            <a:ext cx="324091" cy="173620"/>
          </a:xfrm>
          <a:prstGeom prst="lef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左箭头 15"/>
          <p:cNvSpPr/>
          <p:nvPr/>
        </p:nvSpPr>
        <p:spPr>
          <a:xfrm rot="16200000">
            <a:off x="5061995" y="3869802"/>
            <a:ext cx="324091" cy="173620"/>
          </a:xfrm>
          <a:prstGeom prst="lef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左箭头 16"/>
          <p:cNvSpPr/>
          <p:nvPr/>
        </p:nvSpPr>
        <p:spPr>
          <a:xfrm rot="7973294">
            <a:off x="6101786" y="4446607"/>
            <a:ext cx="324091" cy="173620"/>
          </a:xfrm>
          <a:prstGeom prst="lef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9" name="图片 18"/>
          <p:cNvPicPr>
            <a:picLocks noChangeAspect="1"/>
          </p:cNvPicPr>
          <p:nvPr/>
        </p:nvPicPr>
        <p:blipFill>
          <a:blip r:embed="rId5"/>
          <a:stretch>
            <a:fillRect/>
          </a:stretch>
        </p:blipFill>
        <p:spPr>
          <a:xfrm>
            <a:off x="6932090" y="3075188"/>
            <a:ext cx="3781425" cy="3533775"/>
          </a:xfrm>
          <a:prstGeom prst="rect">
            <a:avLst/>
          </a:prstGeom>
        </p:spPr>
      </p:pic>
      <p:sp>
        <p:nvSpPr>
          <p:cNvPr id="25" name="圆角矩形 24"/>
          <p:cNvSpPr/>
          <p:nvPr/>
        </p:nvSpPr>
        <p:spPr>
          <a:xfrm>
            <a:off x="10401300" y="4978400"/>
            <a:ext cx="1447800" cy="508000"/>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探测器</a:t>
            </a:r>
            <a:r>
              <a:rPr lang="en-US" altLang="zh-CN" dirty="0"/>
              <a:t>B</a:t>
            </a:r>
            <a:endParaRPr lang="zh-CN" altLang="en-US" dirty="0"/>
          </a:p>
        </p:txBody>
      </p:sp>
      <p:sp>
        <p:nvSpPr>
          <p:cNvPr id="20" name="流程图: 可选过程 19"/>
          <p:cNvSpPr/>
          <p:nvPr/>
        </p:nvSpPr>
        <p:spPr>
          <a:xfrm>
            <a:off x="7303625" y="4421529"/>
            <a:ext cx="208344" cy="497711"/>
          </a:xfrm>
          <a:prstGeom prst="flowChartAlternateProcess">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t>甲</a:t>
            </a:r>
          </a:p>
        </p:txBody>
      </p:sp>
      <p:sp>
        <p:nvSpPr>
          <p:cNvPr id="21" name="流程图: 可选过程 20"/>
          <p:cNvSpPr/>
          <p:nvPr/>
        </p:nvSpPr>
        <p:spPr>
          <a:xfrm>
            <a:off x="7560197" y="4759124"/>
            <a:ext cx="208344" cy="497711"/>
          </a:xfrm>
          <a:prstGeom prst="flowChartAlternateProcess">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t>乙</a:t>
            </a:r>
          </a:p>
        </p:txBody>
      </p:sp>
    </p:spTree>
    <p:custDataLst>
      <p:tags r:id="rId1"/>
    </p:custDataLst>
    <p:extLst>
      <p:ext uri="{BB962C8B-B14F-4D97-AF65-F5344CB8AC3E}">
        <p14:creationId xmlns:p14="http://schemas.microsoft.com/office/powerpoint/2010/main" val="157245405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2" name="íṣľiḑe">
            <a:extLst>
              <a:ext uri="{FF2B5EF4-FFF2-40B4-BE49-F238E27FC236}">
                <a16:creationId xmlns:a16="http://schemas.microsoft.com/office/drawing/2014/main" id="{8AC4395B-A0A0-4D81-B628-E4F9AB374736}"/>
              </a:ext>
            </a:extLst>
          </p:cNvPr>
          <p:cNvSpPr>
            <a:spLocks noGrp="1"/>
          </p:cNvSpPr>
          <p:nvPr>
            <p:ph type="title"/>
          </p:nvPr>
        </p:nvSpPr>
        <p:spPr/>
        <p:txBody>
          <a:bodyPr>
            <a:normAutofit/>
          </a:bodyPr>
          <a:lstStyle/>
          <a:p>
            <a:pPr lvl="0"/>
            <a:r>
              <a:rPr lang="zh-CN" altLang="en-US" dirty="0"/>
              <a:t>惠勒延迟选择实验</a:t>
            </a:r>
          </a:p>
        </p:txBody>
      </p:sp>
      <p:sp>
        <p:nvSpPr>
          <p:cNvPr id="4" name="ïṩḷidê">
            <a:extLst>
              <a:ext uri="{FF2B5EF4-FFF2-40B4-BE49-F238E27FC236}">
                <a16:creationId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28</a:t>
            </a:fld>
            <a:endParaRPr lang="zh-CN" altLang="en-US"/>
          </a:p>
        </p:txBody>
      </p:sp>
      <p:sp>
        <p:nvSpPr>
          <p:cNvPr id="5" name="AutoShape 2" descr="关于惠勒延迟选择实验的思考- 哔哩哔哩"/>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pic>
        <p:nvPicPr>
          <p:cNvPr id="9222" name="Picture 6" descr="Justin 的筆記: 你現在的決定也許可以改變過去的歷史--量子延遲選擇抺除實驗"/>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49649" y="1574417"/>
            <a:ext cx="7564741" cy="3912160"/>
          </a:xfrm>
          <a:prstGeom prst="rect">
            <a:avLst/>
          </a:prstGeom>
          <a:noFill/>
          <a:extLst>
            <a:ext uri="{909E8E84-426E-40DD-AFC4-6F175D3DCCD1}">
              <a14:hiddenFill xmlns:a14="http://schemas.microsoft.com/office/drawing/2010/main">
                <a:solidFill>
                  <a:srgbClr val="FFFFFF"/>
                </a:solidFill>
              </a14:hiddenFill>
            </a:ext>
          </a:extLst>
        </p:spPr>
      </p:pic>
      <p:sp>
        <p:nvSpPr>
          <p:cNvPr id="13" name="文本框 12"/>
          <p:cNvSpPr txBox="1"/>
          <p:nvPr/>
        </p:nvSpPr>
        <p:spPr>
          <a:xfrm>
            <a:off x="4178461" y="6007261"/>
            <a:ext cx="3416320" cy="369332"/>
          </a:xfrm>
          <a:prstGeom prst="rect">
            <a:avLst/>
          </a:prstGeom>
          <a:noFill/>
        </p:spPr>
        <p:txBody>
          <a:bodyPr wrap="none" rtlCol="0">
            <a:spAutoFit/>
          </a:bodyPr>
          <a:lstStyle/>
          <a:p>
            <a:r>
              <a:rPr lang="zh-CN" altLang="en-US" b="1" dirty="0">
                <a:solidFill>
                  <a:srgbClr val="FF0000"/>
                </a:solidFill>
              </a:rPr>
              <a:t>我们现在的行为可以影响过去？</a:t>
            </a:r>
          </a:p>
        </p:txBody>
      </p:sp>
    </p:spTree>
    <p:custDataLst>
      <p:tags r:id="rId1"/>
    </p:custDataLst>
    <p:extLst>
      <p:ext uri="{BB962C8B-B14F-4D97-AF65-F5344CB8AC3E}">
        <p14:creationId xmlns:p14="http://schemas.microsoft.com/office/powerpoint/2010/main" val="14618004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2" name="íṣľiḑe">
            <a:extLst>
              <a:ext uri="{FF2B5EF4-FFF2-40B4-BE49-F238E27FC236}">
                <a16:creationId xmlns:a16="http://schemas.microsoft.com/office/drawing/2014/main" id="{8AC4395B-A0A0-4D81-B628-E4F9AB374736}"/>
              </a:ext>
            </a:extLst>
          </p:cNvPr>
          <p:cNvSpPr>
            <a:spLocks noGrp="1"/>
          </p:cNvSpPr>
          <p:nvPr>
            <p:ph type="title"/>
          </p:nvPr>
        </p:nvSpPr>
        <p:spPr/>
        <p:txBody>
          <a:bodyPr>
            <a:normAutofit/>
          </a:bodyPr>
          <a:lstStyle/>
          <a:p>
            <a:pPr lvl="0"/>
            <a:r>
              <a:rPr lang="zh-CN" altLang="en-US" dirty="0"/>
              <a:t>惠勒延迟选择实验</a:t>
            </a:r>
          </a:p>
        </p:txBody>
      </p:sp>
      <p:sp>
        <p:nvSpPr>
          <p:cNvPr id="4" name="ïṩḷidê">
            <a:extLst>
              <a:ext uri="{FF2B5EF4-FFF2-40B4-BE49-F238E27FC236}">
                <a16:creationId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29</a:t>
            </a:fld>
            <a:endParaRPr lang="zh-CN" altLang="en-US"/>
          </a:p>
        </p:txBody>
      </p:sp>
      <p:sp>
        <p:nvSpPr>
          <p:cNvPr id="5" name="AutoShape 2" descr="关于惠勒延迟选择实验的思考- 哔哩哔哩"/>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pic>
        <p:nvPicPr>
          <p:cNvPr id="9222" name="Picture 6" descr="Justin 的筆記: 你現在的決定也許可以改變過去的歷史--量子延遲選擇抺除實驗"/>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49649" y="1574417"/>
            <a:ext cx="7564741" cy="3912160"/>
          </a:xfrm>
          <a:prstGeom prst="rect">
            <a:avLst/>
          </a:prstGeom>
          <a:noFill/>
          <a:extLst>
            <a:ext uri="{909E8E84-426E-40DD-AFC4-6F175D3DCCD1}">
              <a14:hiddenFill xmlns:a14="http://schemas.microsoft.com/office/drawing/2010/main">
                <a:solidFill>
                  <a:srgbClr val="FFFFFF"/>
                </a:solidFill>
              </a14:hiddenFill>
            </a:ext>
          </a:extLst>
        </p:spPr>
      </p:pic>
      <p:sp>
        <p:nvSpPr>
          <p:cNvPr id="3" name="椭圆 2"/>
          <p:cNvSpPr/>
          <p:nvPr/>
        </p:nvSpPr>
        <p:spPr>
          <a:xfrm rot="19289446">
            <a:off x="6293779" y="2820349"/>
            <a:ext cx="2031753" cy="1099350"/>
          </a:xfrm>
          <a:prstGeom prst="ellipse">
            <a:avLst/>
          </a:prstGeom>
          <a:noFill/>
          <a:ln w="2857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ustDataLst>
      <p:tags r:id="rId1"/>
    </p:custDataLst>
    <p:extLst>
      <p:ext uri="{BB962C8B-B14F-4D97-AF65-F5344CB8AC3E}">
        <p14:creationId xmlns:p14="http://schemas.microsoft.com/office/powerpoint/2010/main" val="33130402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i$ḷíḑê"/>
        <p:cNvGrpSpPr/>
        <p:nvPr/>
      </p:nvGrpSpPr>
      <p:grpSpPr>
        <a:xfrm>
          <a:off x="0" y="0"/>
          <a:ext cx="0" cy="0"/>
          <a:chOff x="0" y="0"/>
          <a:chExt cx="0" cy="0"/>
        </a:xfrm>
      </p:grpSpPr>
      <p:sp>
        <p:nvSpPr>
          <p:cNvPr id="5" name="íšľîḑê"/>
          <p:cNvSpPr>
            <a:spLocks noGrp="1"/>
          </p:cNvSpPr>
          <p:nvPr>
            <p:ph type="title"/>
          </p:nvPr>
        </p:nvSpPr>
        <p:spPr>
          <a:xfrm>
            <a:off x="4751615" y="3380413"/>
            <a:ext cx="5419185" cy="895350"/>
          </a:xfrm>
        </p:spPr>
        <p:txBody>
          <a:bodyPr/>
          <a:lstStyle/>
          <a:p>
            <a:r>
              <a:rPr lang="zh-CN" altLang="en-US" dirty="0"/>
              <a:t>量子计算简介</a:t>
            </a:r>
          </a:p>
        </p:txBody>
      </p:sp>
      <p:sp>
        <p:nvSpPr>
          <p:cNvPr id="9" name="iṧḻiḑe">
            <a:extLst>
              <a:ext uri="{FF2B5EF4-FFF2-40B4-BE49-F238E27FC236}">
                <a16:creationId xmlns:a16="http://schemas.microsoft.com/office/drawing/2014/main" id="{04F69230-F3A6-4586-9371-A858F4763E9F}"/>
              </a:ext>
            </a:extLst>
          </p:cNvPr>
          <p:cNvSpPr txBox="1"/>
          <p:nvPr/>
        </p:nvSpPr>
        <p:spPr>
          <a:xfrm>
            <a:off x="4751615" y="1566614"/>
            <a:ext cx="2141996" cy="1862386"/>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a:t>
            </a:r>
            <a:r>
              <a:rPr lang="en-US" altLang="zh-CN" sz="100" spc="100" dirty="0">
                <a:solidFill>
                  <a:schemeClr val="accent1"/>
                </a:solidFill>
                <a:latin typeface="Impact" panose="020B0806030902050204" pitchFamily="34" charset="0"/>
                <a:cs typeface="Arial" panose="020B0604020202020204" pitchFamily="34" charset="0"/>
              </a:rPr>
              <a:t> </a:t>
            </a:r>
            <a:r>
              <a:rPr lang="en-US" altLang="zh-CN" spc="100" dirty="0">
                <a:solidFill>
                  <a:schemeClr val="accent1"/>
                </a:solidFill>
                <a:latin typeface="Impact" panose="020B0806030902050204" pitchFamily="34" charset="0"/>
                <a:cs typeface="Arial" panose="020B0604020202020204" pitchFamily="34" charset="0"/>
              </a:rPr>
              <a:t>01</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5574541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2" name="íṣľiḑe">
            <a:extLst>
              <a:ext uri="{FF2B5EF4-FFF2-40B4-BE49-F238E27FC236}">
                <a16:creationId xmlns:a16="http://schemas.microsoft.com/office/drawing/2014/main" id="{8AC4395B-A0A0-4D81-B628-E4F9AB374736}"/>
              </a:ext>
            </a:extLst>
          </p:cNvPr>
          <p:cNvSpPr>
            <a:spLocks noGrp="1"/>
          </p:cNvSpPr>
          <p:nvPr>
            <p:ph type="title"/>
          </p:nvPr>
        </p:nvSpPr>
        <p:spPr/>
        <p:txBody>
          <a:bodyPr>
            <a:normAutofit/>
          </a:bodyPr>
          <a:lstStyle/>
          <a:p>
            <a:pPr lvl="0"/>
            <a:r>
              <a:rPr lang="zh-CN" altLang="en-US" dirty="0"/>
              <a:t>惠勒延迟选择实验</a:t>
            </a:r>
          </a:p>
        </p:txBody>
      </p:sp>
      <p:sp>
        <p:nvSpPr>
          <p:cNvPr id="4" name="ïṩḷidê">
            <a:extLst>
              <a:ext uri="{FF2B5EF4-FFF2-40B4-BE49-F238E27FC236}">
                <a16:creationId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30</a:t>
            </a:fld>
            <a:endParaRPr lang="zh-CN" altLang="en-US"/>
          </a:p>
        </p:txBody>
      </p:sp>
      <p:sp>
        <p:nvSpPr>
          <p:cNvPr id="5" name="AutoShape 2" descr="关于惠勒延迟选择实验的思考- 哔哩哔哩"/>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pic>
        <p:nvPicPr>
          <p:cNvPr id="9222" name="Picture 6" descr="Justin 的筆記: 你現在的決定也許可以改變過去的歷史--量子延遲選擇抺除實驗"/>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49649" y="1574417"/>
            <a:ext cx="7564741" cy="3912160"/>
          </a:xfrm>
          <a:prstGeom prst="rect">
            <a:avLst/>
          </a:prstGeom>
          <a:noFill/>
          <a:extLst>
            <a:ext uri="{909E8E84-426E-40DD-AFC4-6F175D3DCCD1}">
              <a14:hiddenFill xmlns:a14="http://schemas.microsoft.com/office/drawing/2010/main">
                <a:solidFill>
                  <a:srgbClr val="FFFFFF"/>
                </a:solidFill>
              </a14:hiddenFill>
            </a:ext>
          </a:extLst>
        </p:spPr>
      </p:pic>
      <p:sp>
        <p:nvSpPr>
          <p:cNvPr id="3" name="椭圆 2"/>
          <p:cNvSpPr/>
          <p:nvPr/>
        </p:nvSpPr>
        <p:spPr>
          <a:xfrm rot="19289446">
            <a:off x="6293779" y="2820349"/>
            <a:ext cx="2031753" cy="1099350"/>
          </a:xfrm>
          <a:prstGeom prst="ellipse">
            <a:avLst/>
          </a:prstGeom>
          <a:noFill/>
          <a:ln w="2857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ustDataLst>
      <p:tags r:id="rId1"/>
    </p:custDataLst>
    <p:extLst>
      <p:ext uri="{BB962C8B-B14F-4D97-AF65-F5344CB8AC3E}">
        <p14:creationId xmlns:p14="http://schemas.microsoft.com/office/powerpoint/2010/main" val="18770506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2" name="íṣľiḑe">
            <a:extLst>
              <a:ext uri="{FF2B5EF4-FFF2-40B4-BE49-F238E27FC236}">
                <a16:creationId xmlns:a16="http://schemas.microsoft.com/office/drawing/2014/main" id="{8AC4395B-A0A0-4D81-B628-E4F9AB374736}"/>
              </a:ext>
            </a:extLst>
          </p:cNvPr>
          <p:cNvSpPr>
            <a:spLocks noGrp="1"/>
          </p:cNvSpPr>
          <p:nvPr>
            <p:ph type="title"/>
          </p:nvPr>
        </p:nvSpPr>
        <p:spPr/>
        <p:txBody>
          <a:bodyPr>
            <a:normAutofit/>
          </a:bodyPr>
          <a:lstStyle/>
          <a:p>
            <a:pPr lvl="0"/>
            <a:r>
              <a:rPr lang="zh-CN" altLang="en-US" dirty="0"/>
              <a:t>延迟选择量子擦除实验</a:t>
            </a:r>
          </a:p>
        </p:txBody>
      </p:sp>
      <p:sp>
        <p:nvSpPr>
          <p:cNvPr id="4" name="ïṩḷidê">
            <a:extLst>
              <a:ext uri="{FF2B5EF4-FFF2-40B4-BE49-F238E27FC236}">
                <a16:creationId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31</a:t>
            </a:fld>
            <a:endParaRPr lang="zh-CN" altLang="en-US"/>
          </a:p>
        </p:txBody>
      </p:sp>
      <p:sp>
        <p:nvSpPr>
          <p:cNvPr id="5" name="AutoShape 2" descr="关于惠勒延迟选择实验的思考- 哔哩哔哩"/>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pic>
        <p:nvPicPr>
          <p:cNvPr id="12290" name="Picture 2" descr="https://pic4.zhimg.com/80/v2-60cbe85e88f4ab0e985376f3a5d53b57_720w.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94603" y="1293953"/>
            <a:ext cx="6858000" cy="4695825"/>
          </a:xfrm>
          <a:prstGeom prst="rect">
            <a:avLst/>
          </a:prstGeom>
          <a:noFill/>
          <a:extLst>
            <a:ext uri="{909E8E84-426E-40DD-AFC4-6F175D3DCCD1}">
              <a14:hiddenFill xmlns:a14="http://schemas.microsoft.com/office/drawing/2010/main">
                <a:solidFill>
                  <a:srgbClr val="FFFFFF"/>
                </a:solidFill>
              </a14:hiddenFill>
            </a:ext>
          </a:extLst>
        </p:spPr>
      </p:pic>
      <p:sp>
        <p:nvSpPr>
          <p:cNvPr id="6" name="文本框 5"/>
          <p:cNvSpPr txBox="1"/>
          <p:nvPr/>
        </p:nvSpPr>
        <p:spPr>
          <a:xfrm>
            <a:off x="4687746" y="1226916"/>
            <a:ext cx="1107996" cy="369332"/>
          </a:xfrm>
          <a:prstGeom prst="rect">
            <a:avLst/>
          </a:prstGeom>
          <a:noFill/>
        </p:spPr>
        <p:txBody>
          <a:bodyPr wrap="none" rtlCol="0">
            <a:spAutoFit/>
          </a:bodyPr>
          <a:lstStyle/>
          <a:p>
            <a:r>
              <a:rPr lang="zh-CN" altLang="en-US" b="1" dirty="0">
                <a:solidFill>
                  <a:srgbClr val="FF0000"/>
                </a:solidFill>
              </a:rPr>
              <a:t>信号光子</a:t>
            </a:r>
          </a:p>
        </p:txBody>
      </p:sp>
      <p:sp>
        <p:nvSpPr>
          <p:cNvPr id="9" name="文本框 8"/>
          <p:cNvSpPr txBox="1"/>
          <p:nvPr/>
        </p:nvSpPr>
        <p:spPr>
          <a:xfrm>
            <a:off x="3948896" y="3022921"/>
            <a:ext cx="1107996" cy="369332"/>
          </a:xfrm>
          <a:prstGeom prst="rect">
            <a:avLst/>
          </a:prstGeom>
          <a:noFill/>
        </p:spPr>
        <p:txBody>
          <a:bodyPr wrap="none" rtlCol="0">
            <a:spAutoFit/>
          </a:bodyPr>
          <a:lstStyle/>
          <a:p>
            <a:r>
              <a:rPr lang="zh-CN" altLang="en-US" b="1" dirty="0">
                <a:solidFill>
                  <a:srgbClr val="FF0000"/>
                </a:solidFill>
              </a:rPr>
              <a:t>标记光子</a:t>
            </a:r>
          </a:p>
        </p:txBody>
      </p:sp>
      <p:sp>
        <p:nvSpPr>
          <p:cNvPr id="7" name="文本框 6"/>
          <p:cNvSpPr txBox="1"/>
          <p:nvPr/>
        </p:nvSpPr>
        <p:spPr>
          <a:xfrm>
            <a:off x="3102015" y="1898247"/>
            <a:ext cx="338554" cy="369332"/>
          </a:xfrm>
          <a:prstGeom prst="rect">
            <a:avLst/>
          </a:prstGeom>
          <a:noFill/>
        </p:spPr>
        <p:txBody>
          <a:bodyPr wrap="square" rtlCol="0">
            <a:spAutoFit/>
          </a:bodyPr>
          <a:lstStyle/>
          <a:p>
            <a:r>
              <a:rPr lang="en-US" altLang="zh-CN" dirty="0"/>
              <a:t>A</a:t>
            </a:r>
            <a:endParaRPr lang="zh-CN" altLang="en-US" dirty="0"/>
          </a:p>
        </p:txBody>
      </p:sp>
      <p:sp>
        <p:nvSpPr>
          <p:cNvPr id="11" name="文本框 10"/>
          <p:cNvSpPr txBox="1"/>
          <p:nvPr/>
        </p:nvSpPr>
        <p:spPr>
          <a:xfrm>
            <a:off x="3103944" y="2247417"/>
            <a:ext cx="338554" cy="369332"/>
          </a:xfrm>
          <a:prstGeom prst="rect">
            <a:avLst/>
          </a:prstGeom>
          <a:noFill/>
        </p:spPr>
        <p:txBody>
          <a:bodyPr wrap="square" rtlCol="0">
            <a:spAutoFit/>
          </a:bodyPr>
          <a:lstStyle/>
          <a:p>
            <a:r>
              <a:rPr lang="en-US" altLang="zh-CN" dirty="0"/>
              <a:t>B</a:t>
            </a:r>
            <a:endParaRPr lang="zh-CN" altLang="en-US" dirty="0"/>
          </a:p>
        </p:txBody>
      </p:sp>
    </p:spTree>
    <p:custDataLst>
      <p:tags r:id="rId1"/>
    </p:custDataLst>
    <p:extLst>
      <p:ext uri="{BB962C8B-B14F-4D97-AF65-F5344CB8AC3E}">
        <p14:creationId xmlns:p14="http://schemas.microsoft.com/office/powerpoint/2010/main" val="375720405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2" name="íṣľiḑe">
            <a:extLst>
              <a:ext uri="{FF2B5EF4-FFF2-40B4-BE49-F238E27FC236}">
                <a16:creationId xmlns:a16="http://schemas.microsoft.com/office/drawing/2014/main" id="{8AC4395B-A0A0-4D81-B628-E4F9AB374736}"/>
              </a:ext>
            </a:extLst>
          </p:cNvPr>
          <p:cNvSpPr>
            <a:spLocks noGrp="1"/>
          </p:cNvSpPr>
          <p:nvPr>
            <p:ph type="title"/>
          </p:nvPr>
        </p:nvSpPr>
        <p:spPr/>
        <p:txBody>
          <a:bodyPr>
            <a:normAutofit/>
          </a:bodyPr>
          <a:lstStyle/>
          <a:p>
            <a:pPr lvl="0"/>
            <a:r>
              <a:rPr lang="zh-CN" altLang="en-US" dirty="0"/>
              <a:t>延迟选择量子擦除实验</a:t>
            </a:r>
          </a:p>
        </p:txBody>
      </p:sp>
      <p:sp>
        <p:nvSpPr>
          <p:cNvPr id="4" name="ïṩḷidê">
            <a:extLst>
              <a:ext uri="{FF2B5EF4-FFF2-40B4-BE49-F238E27FC236}">
                <a16:creationId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32</a:t>
            </a:fld>
            <a:endParaRPr lang="zh-CN" altLang="en-US"/>
          </a:p>
        </p:txBody>
      </p:sp>
      <p:sp>
        <p:nvSpPr>
          <p:cNvPr id="5" name="AutoShape 2" descr="关于惠勒延迟选择实验的思考- 哔哩哔哩"/>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pic>
        <p:nvPicPr>
          <p:cNvPr id="11" name="图片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48993" y="1296365"/>
            <a:ext cx="7147362" cy="4893958"/>
          </a:xfrm>
          <a:prstGeom prst="rect">
            <a:avLst/>
          </a:prstGeom>
        </p:spPr>
      </p:pic>
      <p:sp>
        <p:nvSpPr>
          <p:cNvPr id="13" name="文本框 12"/>
          <p:cNvSpPr txBox="1"/>
          <p:nvPr/>
        </p:nvSpPr>
        <p:spPr>
          <a:xfrm>
            <a:off x="3102015" y="1898247"/>
            <a:ext cx="338554" cy="369332"/>
          </a:xfrm>
          <a:prstGeom prst="rect">
            <a:avLst/>
          </a:prstGeom>
          <a:noFill/>
        </p:spPr>
        <p:txBody>
          <a:bodyPr wrap="square" rtlCol="0">
            <a:spAutoFit/>
          </a:bodyPr>
          <a:lstStyle/>
          <a:p>
            <a:r>
              <a:rPr lang="en-US" altLang="zh-CN" dirty="0"/>
              <a:t>A</a:t>
            </a:r>
            <a:endParaRPr lang="zh-CN" altLang="en-US" dirty="0"/>
          </a:p>
        </p:txBody>
      </p:sp>
      <p:sp>
        <p:nvSpPr>
          <p:cNvPr id="14" name="文本框 13"/>
          <p:cNvSpPr txBox="1"/>
          <p:nvPr/>
        </p:nvSpPr>
        <p:spPr>
          <a:xfrm>
            <a:off x="3103944" y="2247417"/>
            <a:ext cx="338554" cy="369332"/>
          </a:xfrm>
          <a:prstGeom prst="rect">
            <a:avLst/>
          </a:prstGeom>
          <a:noFill/>
        </p:spPr>
        <p:txBody>
          <a:bodyPr wrap="square" rtlCol="0">
            <a:spAutoFit/>
          </a:bodyPr>
          <a:lstStyle/>
          <a:p>
            <a:r>
              <a:rPr lang="en-US" altLang="zh-CN" dirty="0"/>
              <a:t>B</a:t>
            </a:r>
            <a:endParaRPr lang="zh-CN" altLang="en-US" dirty="0"/>
          </a:p>
        </p:txBody>
      </p:sp>
      <p:sp>
        <p:nvSpPr>
          <p:cNvPr id="15" name="文本框 14"/>
          <p:cNvSpPr txBox="1"/>
          <p:nvPr/>
        </p:nvSpPr>
        <p:spPr>
          <a:xfrm>
            <a:off x="4687746" y="1226916"/>
            <a:ext cx="1107996" cy="369332"/>
          </a:xfrm>
          <a:prstGeom prst="rect">
            <a:avLst/>
          </a:prstGeom>
          <a:noFill/>
        </p:spPr>
        <p:txBody>
          <a:bodyPr wrap="none" rtlCol="0">
            <a:spAutoFit/>
          </a:bodyPr>
          <a:lstStyle/>
          <a:p>
            <a:r>
              <a:rPr lang="zh-CN" altLang="en-US" b="1" dirty="0">
                <a:solidFill>
                  <a:srgbClr val="FF0000"/>
                </a:solidFill>
              </a:rPr>
              <a:t>信号光子</a:t>
            </a:r>
          </a:p>
        </p:txBody>
      </p:sp>
      <p:sp>
        <p:nvSpPr>
          <p:cNvPr id="16" name="文本框 15"/>
          <p:cNvSpPr txBox="1"/>
          <p:nvPr/>
        </p:nvSpPr>
        <p:spPr>
          <a:xfrm>
            <a:off x="3948896" y="3022921"/>
            <a:ext cx="1107996" cy="369332"/>
          </a:xfrm>
          <a:prstGeom prst="rect">
            <a:avLst/>
          </a:prstGeom>
          <a:noFill/>
        </p:spPr>
        <p:txBody>
          <a:bodyPr wrap="none" rtlCol="0">
            <a:spAutoFit/>
          </a:bodyPr>
          <a:lstStyle/>
          <a:p>
            <a:r>
              <a:rPr lang="zh-CN" altLang="en-US" b="1" dirty="0">
                <a:solidFill>
                  <a:srgbClr val="FF0000"/>
                </a:solidFill>
              </a:rPr>
              <a:t>标记光子</a:t>
            </a:r>
          </a:p>
        </p:txBody>
      </p:sp>
    </p:spTree>
    <p:custDataLst>
      <p:tags r:id="rId1"/>
    </p:custDataLst>
    <p:extLst>
      <p:ext uri="{BB962C8B-B14F-4D97-AF65-F5344CB8AC3E}">
        <p14:creationId xmlns:p14="http://schemas.microsoft.com/office/powerpoint/2010/main" val="197840920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2" name="íṣľiḑe">
            <a:extLst>
              <a:ext uri="{FF2B5EF4-FFF2-40B4-BE49-F238E27FC236}">
                <a16:creationId xmlns:a16="http://schemas.microsoft.com/office/drawing/2014/main" id="{8AC4395B-A0A0-4D81-B628-E4F9AB374736}"/>
              </a:ext>
            </a:extLst>
          </p:cNvPr>
          <p:cNvSpPr>
            <a:spLocks noGrp="1"/>
          </p:cNvSpPr>
          <p:nvPr>
            <p:ph type="title"/>
          </p:nvPr>
        </p:nvSpPr>
        <p:spPr/>
        <p:txBody>
          <a:bodyPr>
            <a:normAutofit/>
          </a:bodyPr>
          <a:lstStyle/>
          <a:p>
            <a:pPr lvl="0"/>
            <a:r>
              <a:rPr lang="zh-CN" altLang="en-US" dirty="0"/>
              <a:t>延迟选择量子擦除实验</a:t>
            </a:r>
          </a:p>
        </p:txBody>
      </p:sp>
      <p:sp>
        <p:nvSpPr>
          <p:cNvPr id="4" name="ïṩḷidê">
            <a:extLst>
              <a:ext uri="{FF2B5EF4-FFF2-40B4-BE49-F238E27FC236}">
                <a16:creationId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33</a:t>
            </a:fld>
            <a:endParaRPr lang="zh-CN" altLang="en-US"/>
          </a:p>
        </p:txBody>
      </p:sp>
      <p:sp>
        <p:nvSpPr>
          <p:cNvPr id="5" name="AutoShape 2" descr="关于惠勒延迟选择实验的思考- 哔哩哔哩"/>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pic>
        <p:nvPicPr>
          <p:cNvPr id="6" name="图片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94321" y="1324155"/>
            <a:ext cx="7078883" cy="4868301"/>
          </a:xfrm>
          <a:prstGeom prst="rect">
            <a:avLst/>
          </a:prstGeom>
        </p:spPr>
      </p:pic>
      <p:sp>
        <p:nvSpPr>
          <p:cNvPr id="7" name="文本框 6"/>
          <p:cNvSpPr txBox="1"/>
          <p:nvPr/>
        </p:nvSpPr>
        <p:spPr>
          <a:xfrm>
            <a:off x="3102015" y="1898247"/>
            <a:ext cx="338554" cy="369332"/>
          </a:xfrm>
          <a:prstGeom prst="rect">
            <a:avLst/>
          </a:prstGeom>
          <a:noFill/>
        </p:spPr>
        <p:txBody>
          <a:bodyPr wrap="square" rtlCol="0">
            <a:spAutoFit/>
          </a:bodyPr>
          <a:lstStyle/>
          <a:p>
            <a:r>
              <a:rPr lang="en-US" altLang="zh-CN" dirty="0"/>
              <a:t>A</a:t>
            </a:r>
            <a:endParaRPr lang="zh-CN" altLang="en-US" dirty="0"/>
          </a:p>
        </p:txBody>
      </p:sp>
      <p:sp>
        <p:nvSpPr>
          <p:cNvPr id="8" name="文本框 7"/>
          <p:cNvSpPr txBox="1"/>
          <p:nvPr/>
        </p:nvSpPr>
        <p:spPr>
          <a:xfrm>
            <a:off x="3103944" y="2247417"/>
            <a:ext cx="338554" cy="369332"/>
          </a:xfrm>
          <a:prstGeom prst="rect">
            <a:avLst/>
          </a:prstGeom>
          <a:noFill/>
        </p:spPr>
        <p:txBody>
          <a:bodyPr wrap="square" rtlCol="0">
            <a:spAutoFit/>
          </a:bodyPr>
          <a:lstStyle/>
          <a:p>
            <a:r>
              <a:rPr lang="en-US" altLang="zh-CN" dirty="0"/>
              <a:t>B</a:t>
            </a:r>
            <a:endParaRPr lang="zh-CN" altLang="en-US" dirty="0"/>
          </a:p>
        </p:txBody>
      </p:sp>
      <p:sp>
        <p:nvSpPr>
          <p:cNvPr id="9" name="文本框 8"/>
          <p:cNvSpPr txBox="1"/>
          <p:nvPr/>
        </p:nvSpPr>
        <p:spPr>
          <a:xfrm>
            <a:off x="4687746" y="1226916"/>
            <a:ext cx="1107996" cy="369332"/>
          </a:xfrm>
          <a:prstGeom prst="rect">
            <a:avLst/>
          </a:prstGeom>
          <a:noFill/>
        </p:spPr>
        <p:txBody>
          <a:bodyPr wrap="none" rtlCol="0">
            <a:spAutoFit/>
          </a:bodyPr>
          <a:lstStyle/>
          <a:p>
            <a:r>
              <a:rPr lang="zh-CN" altLang="en-US" b="1" dirty="0">
                <a:solidFill>
                  <a:srgbClr val="FF0000"/>
                </a:solidFill>
              </a:rPr>
              <a:t>信号光子</a:t>
            </a:r>
          </a:p>
        </p:txBody>
      </p:sp>
      <p:sp>
        <p:nvSpPr>
          <p:cNvPr id="10" name="文本框 9"/>
          <p:cNvSpPr txBox="1"/>
          <p:nvPr/>
        </p:nvSpPr>
        <p:spPr>
          <a:xfrm>
            <a:off x="3948896" y="3022921"/>
            <a:ext cx="1107996" cy="369332"/>
          </a:xfrm>
          <a:prstGeom prst="rect">
            <a:avLst/>
          </a:prstGeom>
          <a:noFill/>
        </p:spPr>
        <p:txBody>
          <a:bodyPr wrap="none" rtlCol="0">
            <a:spAutoFit/>
          </a:bodyPr>
          <a:lstStyle/>
          <a:p>
            <a:r>
              <a:rPr lang="zh-CN" altLang="en-US" b="1" dirty="0">
                <a:solidFill>
                  <a:srgbClr val="FF0000"/>
                </a:solidFill>
              </a:rPr>
              <a:t>标记光子</a:t>
            </a:r>
          </a:p>
        </p:txBody>
      </p:sp>
    </p:spTree>
    <p:custDataLst>
      <p:tags r:id="rId1"/>
    </p:custDataLst>
    <p:extLst>
      <p:ext uri="{BB962C8B-B14F-4D97-AF65-F5344CB8AC3E}">
        <p14:creationId xmlns:p14="http://schemas.microsoft.com/office/powerpoint/2010/main" val="262108596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2" name="íṣľiḑe">
            <a:extLst>
              <a:ext uri="{FF2B5EF4-FFF2-40B4-BE49-F238E27FC236}">
                <a16:creationId xmlns:a16="http://schemas.microsoft.com/office/drawing/2014/main" id="{8AC4395B-A0A0-4D81-B628-E4F9AB374736}"/>
              </a:ext>
            </a:extLst>
          </p:cNvPr>
          <p:cNvSpPr>
            <a:spLocks noGrp="1"/>
          </p:cNvSpPr>
          <p:nvPr>
            <p:ph type="title"/>
          </p:nvPr>
        </p:nvSpPr>
        <p:spPr/>
        <p:txBody>
          <a:bodyPr>
            <a:normAutofit/>
          </a:bodyPr>
          <a:lstStyle/>
          <a:p>
            <a:pPr lvl="0"/>
            <a:r>
              <a:rPr lang="zh-CN" altLang="en-US" dirty="0"/>
              <a:t>延迟选择量子擦除实验</a:t>
            </a:r>
          </a:p>
        </p:txBody>
      </p:sp>
      <p:sp>
        <p:nvSpPr>
          <p:cNvPr id="4" name="ïṩḷidê">
            <a:extLst>
              <a:ext uri="{FF2B5EF4-FFF2-40B4-BE49-F238E27FC236}">
                <a16:creationId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34</a:t>
            </a:fld>
            <a:endParaRPr lang="zh-CN" altLang="en-US"/>
          </a:p>
        </p:txBody>
      </p:sp>
      <p:sp>
        <p:nvSpPr>
          <p:cNvPr id="5" name="AutoShape 2" descr="关于惠勒延迟选择实验的思考- 哔哩哔哩"/>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pic>
        <p:nvPicPr>
          <p:cNvPr id="6" name="图片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94321" y="1324155"/>
            <a:ext cx="7078883" cy="4868301"/>
          </a:xfrm>
          <a:prstGeom prst="rect">
            <a:avLst/>
          </a:prstGeom>
        </p:spPr>
      </p:pic>
      <p:sp>
        <p:nvSpPr>
          <p:cNvPr id="7" name="文本框 6"/>
          <p:cNvSpPr txBox="1"/>
          <p:nvPr/>
        </p:nvSpPr>
        <p:spPr>
          <a:xfrm>
            <a:off x="3102015" y="1898247"/>
            <a:ext cx="338554" cy="369332"/>
          </a:xfrm>
          <a:prstGeom prst="rect">
            <a:avLst/>
          </a:prstGeom>
          <a:noFill/>
        </p:spPr>
        <p:txBody>
          <a:bodyPr wrap="square" rtlCol="0">
            <a:spAutoFit/>
          </a:bodyPr>
          <a:lstStyle/>
          <a:p>
            <a:r>
              <a:rPr lang="en-US" altLang="zh-CN" dirty="0"/>
              <a:t>A</a:t>
            </a:r>
            <a:endParaRPr lang="zh-CN" altLang="en-US" dirty="0"/>
          </a:p>
        </p:txBody>
      </p:sp>
      <p:sp>
        <p:nvSpPr>
          <p:cNvPr id="8" name="文本框 7"/>
          <p:cNvSpPr txBox="1"/>
          <p:nvPr/>
        </p:nvSpPr>
        <p:spPr>
          <a:xfrm>
            <a:off x="3103944" y="2247417"/>
            <a:ext cx="338554" cy="369332"/>
          </a:xfrm>
          <a:prstGeom prst="rect">
            <a:avLst/>
          </a:prstGeom>
          <a:noFill/>
        </p:spPr>
        <p:txBody>
          <a:bodyPr wrap="square" rtlCol="0">
            <a:spAutoFit/>
          </a:bodyPr>
          <a:lstStyle/>
          <a:p>
            <a:r>
              <a:rPr lang="en-US" altLang="zh-CN" dirty="0"/>
              <a:t>B</a:t>
            </a:r>
            <a:endParaRPr lang="zh-CN" altLang="en-US" dirty="0"/>
          </a:p>
        </p:txBody>
      </p:sp>
      <p:sp>
        <p:nvSpPr>
          <p:cNvPr id="9" name="文本框 8"/>
          <p:cNvSpPr txBox="1"/>
          <p:nvPr/>
        </p:nvSpPr>
        <p:spPr>
          <a:xfrm>
            <a:off x="4687746" y="1226916"/>
            <a:ext cx="1107996" cy="369332"/>
          </a:xfrm>
          <a:prstGeom prst="rect">
            <a:avLst/>
          </a:prstGeom>
          <a:noFill/>
        </p:spPr>
        <p:txBody>
          <a:bodyPr wrap="none" rtlCol="0">
            <a:spAutoFit/>
          </a:bodyPr>
          <a:lstStyle/>
          <a:p>
            <a:r>
              <a:rPr lang="zh-CN" altLang="en-US" b="1" dirty="0">
                <a:solidFill>
                  <a:srgbClr val="FF0000"/>
                </a:solidFill>
              </a:rPr>
              <a:t>信号光子</a:t>
            </a:r>
          </a:p>
        </p:txBody>
      </p:sp>
      <p:sp>
        <p:nvSpPr>
          <p:cNvPr id="10" name="文本框 9"/>
          <p:cNvSpPr txBox="1"/>
          <p:nvPr/>
        </p:nvSpPr>
        <p:spPr>
          <a:xfrm>
            <a:off x="3948896" y="3022921"/>
            <a:ext cx="1107996" cy="369332"/>
          </a:xfrm>
          <a:prstGeom prst="rect">
            <a:avLst/>
          </a:prstGeom>
          <a:noFill/>
        </p:spPr>
        <p:txBody>
          <a:bodyPr wrap="none" rtlCol="0">
            <a:spAutoFit/>
          </a:bodyPr>
          <a:lstStyle/>
          <a:p>
            <a:r>
              <a:rPr lang="zh-CN" altLang="en-US" b="1" dirty="0">
                <a:solidFill>
                  <a:srgbClr val="FF0000"/>
                </a:solidFill>
              </a:rPr>
              <a:t>标记光子</a:t>
            </a:r>
          </a:p>
        </p:txBody>
      </p:sp>
    </p:spTree>
    <p:custDataLst>
      <p:tags r:id="rId1"/>
    </p:custDataLst>
    <p:extLst>
      <p:ext uri="{BB962C8B-B14F-4D97-AF65-F5344CB8AC3E}">
        <p14:creationId xmlns:p14="http://schemas.microsoft.com/office/powerpoint/2010/main" val="780665674"/>
      </p:ext>
    </p:extLst>
  </p:cSld>
  <p:clrMapOvr>
    <a:masterClrMapping/>
  </p:clrMapOvr>
  <mc:AlternateContent xmlns:mc="http://schemas.openxmlformats.org/markup-compatibility/2006">
    <mc:Choice xmlns:p14="http://schemas.microsoft.com/office/powerpoint/2010/main" Requires="p14">
      <p:transition spd="slow" p14:dur="999"/>
    </mc:Choice>
    <mc:Fallback>
      <p:transition spd="slow"/>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i$ḷíḑê"/>
        <p:cNvGrpSpPr/>
        <p:nvPr/>
      </p:nvGrpSpPr>
      <p:grpSpPr>
        <a:xfrm>
          <a:off x="0" y="0"/>
          <a:ext cx="0" cy="0"/>
          <a:chOff x="0" y="0"/>
          <a:chExt cx="0" cy="0"/>
        </a:xfrm>
      </p:grpSpPr>
      <p:sp>
        <p:nvSpPr>
          <p:cNvPr id="5" name="íšľîḑê"/>
          <p:cNvSpPr>
            <a:spLocks noGrp="1"/>
          </p:cNvSpPr>
          <p:nvPr>
            <p:ph type="title"/>
          </p:nvPr>
        </p:nvSpPr>
        <p:spPr>
          <a:xfrm>
            <a:off x="4751615" y="3380413"/>
            <a:ext cx="5419185" cy="895350"/>
          </a:xfrm>
        </p:spPr>
        <p:txBody>
          <a:bodyPr/>
          <a:lstStyle/>
          <a:p>
            <a:r>
              <a:rPr lang="zh-CN" altLang="en-US" dirty="0"/>
              <a:t>量子导航</a:t>
            </a:r>
          </a:p>
        </p:txBody>
      </p:sp>
      <p:sp>
        <p:nvSpPr>
          <p:cNvPr id="9" name="iṧḻiḑe">
            <a:extLst>
              <a:ext uri="{FF2B5EF4-FFF2-40B4-BE49-F238E27FC236}">
                <a16:creationId xmlns:a16="http://schemas.microsoft.com/office/drawing/2014/main" id="{04F69230-F3A6-4586-9371-A858F4763E9F}"/>
              </a:ext>
            </a:extLst>
          </p:cNvPr>
          <p:cNvSpPr txBox="1"/>
          <p:nvPr/>
        </p:nvSpPr>
        <p:spPr>
          <a:xfrm>
            <a:off x="4751615" y="1566614"/>
            <a:ext cx="2141996" cy="1862386"/>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a:t>
            </a:r>
            <a:r>
              <a:rPr lang="en-US" altLang="zh-CN" sz="100" spc="100" dirty="0">
                <a:solidFill>
                  <a:schemeClr val="accent1"/>
                </a:solidFill>
                <a:latin typeface="Impact" panose="020B0806030902050204" pitchFamily="34" charset="0"/>
                <a:cs typeface="Arial" panose="020B0604020202020204" pitchFamily="34" charset="0"/>
              </a:rPr>
              <a:t> </a:t>
            </a:r>
            <a:r>
              <a:rPr lang="en-US" altLang="zh-CN" spc="100" dirty="0">
                <a:solidFill>
                  <a:schemeClr val="accent1"/>
                </a:solidFill>
                <a:latin typeface="Impact" panose="020B0806030902050204" pitchFamily="34" charset="0"/>
                <a:cs typeface="Arial" panose="020B0604020202020204" pitchFamily="34" charset="0"/>
              </a:rPr>
              <a:t>06</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17378186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量子力学系统的基本符号和性质</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36</a:t>
            </a:fld>
            <a:endParaRPr lang="zh-CN" altLang="en-US"/>
          </a:p>
        </p:txBody>
      </p:sp>
      <p:sp>
        <p:nvSpPr>
          <p:cNvPr id="5" name="文本框 4"/>
          <p:cNvSpPr txBox="1"/>
          <p:nvPr/>
        </p:nvSpPr>
        <p:spPr>
          <a:xfrm>
            <a:off x="671802" y="1511559"/>
            <a:ext cx="1107996" cy="369332"/>
          </a:xfrm>
          <a:prstGeom prst="rect">
            <a:avLst/>
          </a:prstGeom>
          <a:noFill/>
        </p:spPr>
        <p:txBody>
          <a:bodyPr wrap="none" rtlCol="0">
            <a:spAutoFit/>
          </a:bodyPr>
          <a:lstStyle/>
          <a:p>
            <a:r>
              <a:rPr lang="zh-CN" altLang="en-US" dirty="0"/>
              <a:t>复数变量</a:t>
            </a:r>
          </a:p>
        </p:txBody>
      </p:sp>
      <p:pic>
        <p:nvPicPr>
          <p:cNvPr id="6" name="图片 5"/>
          <p:cNvPicPr>
            <a:picLocks noChangeAspect="1"/>
          </p:cNvPicPr>
          <p:nvPr/>
        </p:nvPicPr>
        <p:blipFill>
          <a:blip r:embed="rId2"/>
          <a:stretch>
            <a:fillRect/>
          </a:stretch>
        </p:blipFill>
        <p:spPr>
          <a:xfrm>
            <a:off x="1778258" y="1441481"/>
            <a:ext cx="1600200" cy="466725"/>
          </a:xfrm>
          <a:prstGeom prst="rect">
            <a:avLst/>
          </a:prstGeom>
        </p:spPr>
      </p:pic>
      <p:sp>
        <p:nvSpPr>
          <p:cNvPr id="7" name="文本框 6"/>
          <p:cNvSpPr txBox="1"/>
          <p:nvPr/>
        </p:nvSpPr>
        <p:spPr>
          <a:xfrm>
            <a:off x="3405673" y="1502229"/>
            <a:ext cx="1107996" cy="369332"/>
          </a:xfrm>
          <a:prstGeom prst="rect">
            <a:avLst/>
          </a:prstGeom>
          <a:noFill/>
        </p:spPr>
        <p:txBody>
          <a:bodyPr wrap="none" rtlCol="0">
            <a:spAutoFit/>
          </a:bodyPr>
          <a:lstStyle/>
          <a:p>
            <a:r>
              <a:rPr lang="zh-CN" altLang="en-US" dirty="0"/>
              <a:t>及其共轭</a:t>
            </a:r>
          </a:p>
        </p:txBody>
      </p:sp>
      <p:pic>
        <p:nvPicPr>
          <p:cNvPr id="8" name="图片 7"/>
          <p:cNvPicPr>
            <a:picLocks noChangeAspect="1"/>
          </p:cNvPicPr>
          <p:nvPr/>
        </p:nvPicPr>
        <p:blipFill>
          <a:blip r:embed="rId3"/>
          <a:stretch>
            <a:fillRect/>
          </a:stretch>
        </p:blipFill>
        <p:spPr>
          <a:xfrm>
            <a:off x="4441661" y="1356923"/>
            <a:ext cx="1647825" cy="523875"/>
          </a:xfrm>
          <a:prstGeom prst="rect">
            <a:avLst/>
          </a:prstGeom>
        </p:spPr>
      </p:pic>
      <p:sp>
        <p:nvSpPr>
          <p:cNvPr id="9" name="文本框 8"/>
          <p:cNvSpPr txBox="1"/>
          <p:nvPr/>
        </p:nvSpPr>
        <p:spPr>
          <a:xfrm>
            <a:off x="671804" y="2174032"/>
            <a:ext cx="1915909" cy="369332"/>
          </a:xfrm>
          <a:prstGeom prst="rect">
            <a:avLst/>
          </a:prstGeom>
          <a:noFill/>
        </p:spPr>
        <p:txBody>
          <a:bodyPr wrap="none" rtlCol="0">
            <a:spAutoFit/>
          </a:bodyPr>
          <a:lstStyle/>
          <a:p>
            <a:r>
              <a:rPr lang="zh-CN" altLang="en-US" dirty="0"/>
              <a:t>行向量</a:t>
            </a:r>
            <a:r>
              <a:rPr lang="en-US" altLang="zh-CN" dirty="0"/>
              <a:t>bra-vector</a:t>
            </a:r>
            <a:endParaRPr lang="zh-CN" altLang="en-US" dirty="0"/>
          </a:p>
        </p:txBody>
      </p:sp>
      <p:pic>
        <p:nvPicPr>
          <p:cNvPr id="11" name="图片 10"/>
          <p:cNvPicPr>
            <a:picLocks noChangeAspect="1"/>
          </p:cNvPicPr>
          <p:nvPr/>
        </p:nvPicPr>
        <p:blipFill>
          <a:blip r:embed="rId4"/>
          <a:stretch>
            <a:fillRect/>
          </a:stretch>
        </p:blipFill>
        <p:spPr>
          <a:xfrm>
            <a:off x="2613154" y="2132142"/>
            <a:ext cx="2076450" cy="447675"/>
          </a:xfrm>
          <a:prstGeom prst="rect">
            <a:avLst/>
          </a:prstGeom>
        </p:spPr>
      </p:pic>
      <p:sp>
        <p:nvSpPr>
          <p:cNvPr id="12" name="文本框 11"/>
          <p:cNvSpPr txBox="1"/>
          <p:nvPr/>
        </p:nvSpPr>
        <p:spPr>
          <a:xfrm>
            <a:off x="4758612" y="2174032"/>
            <a:ext cx="1890261" cy="369332"/>
          </a:xfrm>
          <a:prstGeom prst="rect">
            <a:avLst/>
          </a:prstGeom>
          <a:noFill/>
        </p:spPr>
        <p:txBody>
          <a:bodyPr wrap="none" rtlCol="0">
            <a:spAutoFit/>
          </a:bodyPr>
          <a:lstStyle/>
          <a:p>
            <a:r>
              <a:rPr lang="zh-CN" altLang="en-US" dirty="0"/>
              <a:t>列向量</a:t>
            </a:r>
            <a:r>
              <a:rPr lang="en-US" altLang="zh-CN" dirty="0" err="1"/>
              <a:t>ket</a:t>
            </a:r>
            <a:r>
              <a:rPr lang="en-US" altLang="zh-CN" dirty="0"/>
              <a:t>-vector</a:t>
            </a:r>
            <a:endParaRPr lang="zh-CN" altLang="en-US" dirty="0"/>
          </a:p>
        </p:txBody>
      </p:sp>
      <p:pic>
        <p:nvPicPr>
          <p:cNvPr id="13" name="图片 12"/>
          <p:cNvPicPr>
            <a:picLocks noChangeAspect="1"/>
          </p:cNvPicPr>
          <p:nvPr/>
        </p:nvPicPr>
        <p:blipFill rotWithShape="1">
          <a:blip r:embed="rId5"/>
          <a:srcRect t="2771"/>
          <a:stretch/>
        </p:blipFill>
        <p:spPr>
          <a:xfrm>
            <a:off x="6628136" y="2034073"/>
            <a:ext cx="2058664" cy="548964"/>
          </a:xfrm>
          <a:prstGeom prst="rect">
            <a:avLst/>
          </a:prstGeom>
        </p:spPr>
      </p:pic>
      <p:pic>
        <p:nvPicPr>
          <p:cNvPr id="14" name="图片 13"/>
          <p:cNvPicPr>
            <a:picLocks noChangeAspect="1"/>
          </p:cNvPicPr>
          <p:nvPr/>
        </p:nvPicPr>
        <p:blipFill>
          <a:blip r:embed="rId6"/>
          <a:stretch>
            <a:fillRect/>
          </a:stretch>
        </p:blipFill>
        <p:spPr>
          <a:xfrm>
            <a:off x="703003" y="2766428"/>
            <a:ext cx="3514434" cy="399553"/>
          </a:xfrm>
          <a:prstGeom prst="rect">
            <a:avLst/>
          </a:prstGeom>
        </p:spPr>
      </p:pic>
      <mc:AlternateContent xmlns:mc="http://schemas.openxmlformats.org/markup-compatibility/2006" xmlns:a14="http://schemas.microsoft.com/office/drawing/2010/main">
        <mc:Choice Requires="a14">
          <p:sp>
            <p:nvSpPr>
              <p:cNvPr id="15" name="文本框 14"/>
              <p:cNvSpPr txBox="1"/>
              <p:nvPr/>
            </p:nvSpPr>
            <p:spPr>
              <a:xfrm>
                <a:off x="4320072" y="2780523"/>
                <a:ext cx="6803144" cy="404791"/>
              </a:xfrm>
              <a:prstGeom prst="rect">
                <a:avLst/>
              </a:prstGeom>
              <a:noFill/>
            </p:spPr>
            <p:txBody>
              <a:bodyPr wrap="none" rtlCol="0">
                <a:spAutoFit/>
              </a:bodyPr>
              <a:lstStyle/>
              <a:p>
                <a:r>
                  <a:rPr lang="zh-CN" altLang="en-US" dirty="0"/>
                  <a:t>描述量子物体的状态；</a:t>
                </a:r>
                <a14:m>
                  <m:oMath xmlns:m="http://schemas.openxmlformats.org/officeDocument/2006/math">
                    <m:acc>
                      <m:accPr>
                        <m:chr m:val="⃑"/>
                        <m:ctrlPr>
                          <a:rPr lang="zh-CN" altLang="en-US" i="1" smtClean="0">
                            <a:latin typeface="Cambria Math" panose="02040503050406030204" pitchFamily="18" charset="0"/>
                          </a:rPr>
                        </m:ctrlPr>
                      </m:accPr>
                      <m:e>
                        <m:r>
                          <a:rPr lang="en-US" altLang="zh-CN" b="0" i="1" smtClean="0">
                            <a:latin typeface="Cambria Math" panose="02040503050406030204" pitchFamily="18" charset="0"/>
                          </a:rPr>
                          <m:t>𝑆</m:t>
                        </m:r>
                      </m:e>
                    </m:acc>
                  </m:oMath>
                </a14:m>
                <a:r>
                  <a:rPr lang="zh-CN" altLang="en-US" dirty="0"/>
                  <a:t> 称为状态向量，</a:t>
                </a:r>
                <a:r>
                  <a:rPr lang="en-US" altLang="zh-CN" dirty="0"/>
                  <a:t>ρ </a:t>
                </a:r>
                <a:r>
                  <a:rPr lang="zh-CN" altLang="en-US" dirty="0"/>
                  <a:t>为状态矩阵或密度矩阵</a:t>
                </a:r>
              </a:p>
            </p:txBody>
          </p:sp>
        </mc:Choice>
        <mc:Fallback xmlns="">
          <p:sp>
            <p:nvSpPr>
              <p:cNvPr id="15" name="文本框 14"/>
              <p:cNvSpPr txBox="1">
                <a:spLocks noRot="1" noChangeAspect="1" noMove="1" noResize="1" noEditPoints="1" noAdjustHandles="1" noChangeArrowheads="1" noChangeShapeType="1" noTextEdit="1"/>
              </p:cNvSpPr>
              <p:nvPr/>
            </p:nvSpPr>
            <p:spPr>
              <a:xfrm>
                <a:off x="4320072" y="2780523"/>
                <a:ext cx="6803144" cy="404791"/>
              </a:xfrm>
              <a:prstGeom prst="rect">
                <a:avLst/>
              </a:prstGeom>
              <a:blipFill>
                <a:blip r:embed="rId7"/>
                <a:stretch>
                  <a:fillRect l="-806" t="-5970" r="-90" b="-22388"/>
                </a:stretch>
              </a:blipFill>
            </p:spPr>
            <p:txBody>
              <a:bodyPr/>
              <a:lstStyle/>
              <a:p>
                <a:r>
                  <a:rPr lang="zh-CN" altLang="en-US">
                    <a:noFill/>
                  </a:rPr>
                  <a:t> </a:t>
                </a:r>
              </a:p>
            </p:txBody>
          </p:sp>
        </mc:Fallback>
      </mc:AlternateContent>
      <p:pic>
        <p:nvPicPr>
          <p:cNvPr id="16" name="图片 15"/>
          <p:cNvPicPr>
            <a:picLocks noChangeAspect="1"/>
          </p:cNvPicPr>
          <p:nvPr/>
        </p:nvPicPr>
        <p:blipFill>
          <a:blip r:embed="rId8"/>
          <a:stretch>
            <a:fillRect/>
          </a:stretch>
        </p:blipFill>
        <p:spPr>
          <a:xfrm>
            <a:off x="629233" y="3325099"/>
            <a:ext cx="5547631" cy="396259"/>
          </a:xfrm>
          <a:prstGeom prst="rect">
            <a:avLst/>
          </a:prstGeom>
        </p:spPr>
      </p:pic>
      <mc:AlternateContent xmlns:mc="http://schemas.openxmlformats.org/markup-compatibility/2006" xmlns:a14="http://schemas.microsoft.com/office/drawing/2010/main">
        <mc:Choice Requires="a14">
          <p:sp>
            <p:nvSpPr>
              <p:cNvPr id="17" name="文本框 16"/>
              <p:cNvSpPr txBox="1"/>
              <p:nvPr/>
            </p:nvSpPr>
            <p:spPr>
              <a:xfrm>
                <a:off x="6195525" y="3331028"/>
                <a:ext cx="3656707" cy="404791"/>
              </a:xfrm>
              <a:prstGeom prst="rect">
                <a:avLst/>
              </a:prstGeom>
              <a:noFill/>
            </p:spPr>
            <p:txBody>
              <a:bodyPr wrap="none" rtlCol="0">
                <a:spAutoFit/>
              </a:bodyPr>
              <a:lstStyle/>
              <a:p>
                <a:r>
                  <a:rPr lang="zh-CN" altLang="en-US" dirty="0"/>
                  <a:t>物体从状态</a:t>
                </a:r>
                <a14:m>
                  <m:oMath xmlns:m="http://schemas.openxmlformats.org/officeDocument/2006/math">
                    <m:acc>
                      <m:accPr>
                        <m:chr m:val="⃑"/>
                        <m:ctrlPr>
                          <a:rPr lang="zh-CN" altLang="en-US" i="1" smtClean="0">
                            <a:latin typeface="Cambria Math" panose="02040503050406030204" pitchFamily="18" charset="0"/>
                          </a:rPr>
                        </m:ctrlPr>
                      </m:accPr>
                      <m:e>
                        <m:r>
                          <a:rPr lang="en-US" altLang="zh-CN" b="0" i="1" smtClean="0">
                            <a:latin typeface="Cambria Math" panose="02040503050406030204" pitchFamily="18" charset="0"/>
                          </a:rPr>
                          <m:t> </m:t>
                        </m:r>
                        <m:sSub>
                          <m:sSubPr>
                            <m:ctrlPr>
                              <a:rPr lang="en-US" altLang="zh-CN" i="1">
                                <a:latin typeface="Cambria Math" panose="02040503050406030204" pitchFamily="18" charset="0"/>
                              </a:rPr>
                            </m:ctrlPr>
                          </m:sSubPr>
                          <m:e>
                            <m:r>
                              <a:rPr lang="en-US" altLang="zh-CN" i="1">
                                <a:latin typeface="Cambria Math" panose="02040503050406030204" pitchFamily="18" charset="0"/>
                              </a:rPr>
                              <m:t>𝑆</m:t>
                            </m:r>
                          </m:e>
                          <m:sub>
                            <m:r>
                              <a:rPr lang="en-US" altLang="zh-CN" i="1">
                                <a:latin typeface="Cambria Math" panose="02040503050406030204" pitchFamily="18" charset="0"/>
                              </a:rPr>
                              <m:t>1</m:t>
                            </m:r>
                          </m:sub>
                        </m:sSub>
                      </m:e>
                    </m:acc>
                    <m:r>
                      <a:rPr lang="en-US" altLang="zh-CN" b="0" i="1">
                        <a:latin typeface="Cambria Math" panose="02040503050406030204" pitchFamily="18" charset="0"/>
                      </a:rPr>
                      <m:t> </m:t>
                    </m:r>
                    <m:r>
                      <a:rPr lang="zh-CN" altLang="en-US" i="1" smtClean="0">
                        <a:latin typeface="Cambria Math" panose="02040503050406030204" pitchFamily="18" charset="0"/>
                      </a:rPr>
                      <m:t>转</m:t>
                    </m:r>
                  </m:oMath>
                </a14:m>
                <a:r>
                  <a:rPr lang="zh-CN" altLang="en-US" dirty="0"/>
                  <a:t>到状态</a:t>
                </a:r>
                <a14:m>
                  <m:oMath xmlns:m="http://schemas.openxmlformats.org/officeDocument/2006/math">
                    <m:acc>
                      <m:accPr>
                        <m:chr m:val="⃑"/>
                        <m:ctrlPr>
                          <a:rPr lang="zh-CN" altLang="en-US" i="1">
                            <a:latin typeface="Cambria Math" panose="02040503050406030204" pitchFamily="18" charset="0"/>
                          </a:rPr>
                        </m:ctrlPr>
                      </m:accPr>
                      <m:e>
                        <m:r>
                          <a:rPr lang="en-US" altLang="zh-CN" i="1">
                            <a:latin typeface="Cambria Math" panose="02040503050406030204" pitchFamily="18" charset="0"/>
                          </a:rPr>
                          <m:t> </m:t>
                        </m:r>
                        <m:sSub>
                          <m:sSubPr>
                            <m:ctrlPr>
                              <a:rPr lang="en-US" altLang="zh-CN" i="1">
                                <a:latin typeface="Cambria Math" panose="02040503050406030204" pitchFamily="18" charset="0"/>
                              </a:rPr>
                            </m:ctrlPr>
                          </m:sSubPr>
                          <m:e>
                            <m:r>
                              <a:rPr lang="en-US" altLang="zh-CN" i="1">
                                <a:latin typeface="Cambria Math" panose="02040503050406030204" pitchFamily="18" charset="0"/>
                              </a:rPr>
                              <m:t>𝑆</m:t>
                            </m:r>
                          </m:e>
                          <m:sub>
                            <m:r>
                              <a:rPr lang="en-US" altLang="zh-CN" b="0" i="1" smtClean="0">
                                <a:latin typeface="Cambria Math" panose="02040503050406030204" pitchFamily="18" charset="0"/>
                              </a:rPr>
                              <m:t>2</m:t>
                            </m:r>
                          </m:sub>
                        </m:sSub>
                      </m:e>
                    </m:acc>
                    <m:r>
                      <a:rPr lang="en-US" altLang="zh-CN" b="0" i="1" smtClean="0">
                        <a:latin typeface="Cambria Math" panose="02040503050406030204" pitchFamily="18" charset="0"/>
                      </a:rPr>
                      <m:t> </m:t>
                    </m:r>
                    <m:r>
                      <a:rPr lang="zh-CN" altLang="en-US" i="1">
                        <a:latin typeface="Cambria Math" panose="02040503050406030204" pitchFamily="18" charset="0"/>
                      </a:rPr>
                      <m:t>的</m:t>
                    </m:r>
                  </m:oMath>
                </a14:m>
                <a:r>
                  <a:rPr lang="zh-CN" altLang="en-US" dirty="0"/>
                  <a:t>振幅 </a:t>
                </a:r>
              </a:p>
            </p:txBody>
          </p:sp>
        </mc:Choice>
        <mc:Fallback xmlns="">
          <p:sp>
            <p:nvSpPr>
              <p:cNvPr id="17" name="文本框 16"/>
              <p:cNvSpPr txBox="1">
                <a:spLocks noRot="1" noChangeAspect="1" noMove="1" noResize="1" noEditPoints="1" noAdjustHandles="1" noChangeArrowheads="1" noChangeShapeType="1" noTextEdit="1"/>
              </p:cNvSpPr>
              <p:nvPr/>
            </p:nvSpPr>
            <p:spPr>
              <a:xfrm>
                <a:off x="6195525" y="3331028"/>
                <a:ext cx="3656707" cy="404791"/>
              </a:xfrm>
              <a:prstGeom prst="rect">
                <a:avLst/>
              </a:prstGeom>
              <a:blipFill>
                <a:blip r:embed="rId9"/>
                <a:stretch>
                  <a:fillRect l="-1333" b="-22388"/>
                </a:stretch>
              </a:blipFill>
            </p:spPr>
            <p:txBody>
              <a:bodyPr/>
              <a:lstStyle/>
              <a:p>
                <a:r>
                  <a:rPr lang="zh-CN" altLang="en-US">
                    <a:noFill/>
                  </a:rPr>
                  <a:t> </a:t>
                </a:r>
              </a:p>
            </p:txBody>
          </p:sp>
        </mc:Fallback>
      </mc:AlternateContent>
      <p:pic>
        <p:nvPicPr>
          <p:cNvPr id="18" name="图片 17"/>
          <p:cNvPicPr>
            <a:picLocks noChangeAspect="1"/>
          </p:cNvPicPr>
          <p:nvPr/>
        </p:nvPicPr>
        <p:blipFill>
          <a:blip r:embed="rId10"/>
          <a:stretch>
            <a:fillRect/>
          </a:stretch>
        </p:blipFill>
        <p:spPr>
          <a:xfrm>
            <a:off x="646532" y="3885324"/>
            <a:ext cx="2161981" cy="422031"/>
          </a:xfrm>
          <a:prstGeom prst="rect">
            <a:avLst/>
          </a:prstGeom>
        </p:spPr>
      </p:pic>
      <mc:AlternateContent xmlns:mc="http://schemas.openxmlformats.org/markup-compatibility/2006" xmlns:a14="http://schemas.microsoft.com/office/drawing/2010/main">
        <mc:Choice Requires="a14">
          <p:sp>
            <p:nvSpPr>
              <p:cNvPr id="19" name="文本框 18"/>
              <p:cNvSpPr txBox="1"/>
              <p:nvPr/>
            </p:nvSpPr>
            <p:spPr>
              <a:xfrm>
                <a:off x="2811623" y="3903306"/>
                <a:ext cx="4349204" cy="404791"/>
              </a:xfrm>
              <a:prstGeom prst="rect">
                <a:avLst/>
              </a:prstGeom>
              <a:noFill/>
            </p:spPr>
            <p:txBody>
              <a:bodyPr wrap="none" rtlCol="0">
                <a:spAutoFit/>
              </a:bodyPr>
              <a:lstStyle/>
              <a:p>
                <a:r>
                  <a:rPr lang="zh-CN" altLang="en-US" dirty="0"/>
                  <a:t>物体从状态</a:t>
                </a:r>
                <a14:m>
                  <m:oMath xmlns:m="http://schemas.openxmlformats.org/officeDocument/2006/math">
                    <m:acc>
                      <m:accPr>
                        <m:chr m:val="⃑"/>
                        <m:ctrlPr>
                          <a:rPr lang="zh-CN" altLang="en-US" i="1" smtClean="0">
                            <a:latin typeface="Cambria Math" panose="02040503050406030204" pitchFamily="18" charset="0"/>
                          </a:rPr>
                        </m:ctrlPr>
                      </m:accPr>
                      <m:e>
                        <m:r>
                          <a:rPr lang="en-US" altLang="zh-CN" b="0" i="1" smtClean="0">
                            <a:latin typeface="Cambria Math" panose="02040503050406030204" pitchFamily="18" charset="0"/>
                          </a:rPr>
                          <m:t> </m:t>
                        </m:r>
                        <m:sSub>
                          <m:sSubPr>
                            <m:ctrlPr>
                              <a:rPr lang="en-US" altLang="zh-CN" i="1">
                                <a:latin typeface="Cambria Math" panose="02040503050406030204" pitchFamily="18" charset="0"/>
                              </a:rPr>
                            </m:ctrlPr>
                          </m:sSubPr>
                          <m:e>
                            <m:r>
                              <a:rPr lang="en-US" altLang="zh-CN" i="1">
                                <a:latin typeface="Cambria Math" panose="02040503050406030204" pitchFamily="18" charset="0"/>
                              </a:rPr>
                              <m:t>𝑆</m:t>
                            </m:r>
                          </m:e>
                          <m:sub>
                            <m:r>
                              <a:rPr lang="en-US" altLang="zh-CN" i="1">
                                <a:latin typeface="Cambria Math" panose="02040503050406030204" pitchFamily="18" charset="0"/>
                              </a:rPr>
                              <m:t>1</m:t>
                            </m:r>
                          </m:sub>
                        </m:sSub>
                      </m:e>
                    </m:acc>
                    <m:r>
                      <a:rPr lang="en-US" altLang="zh-CN" b="0" i="1">
                        <a:latin typeface="Cambria Math" panose="02040503050406030204" pitchFamily="18" charset="0"/>
                      </a:rPr>
                      <m:t> </m:t>
                    </m:r>
                    <m:r>
                      <a:rPr lang="zh-CN" altLang="en-US" i="1" smtClean="0">
                        <a:latin typeface="Cambria Math" panose="02040503050406030204" pitchFamily="18" charset="0"/>
                      </a:rPr>
                      <m:t>转</m:t>
                    </m:r>
                  </m:oMath>
                </a14:m>
                <a:r>
                  <a:rPr lang="zh-CN" altLang="en-US" dirty="0"/>
                  <a:t>到状态</a:t>
                </a:r>
                <a14:m>
                  <m:oMath xmlns:m="http://schemas.openxmlformats.org/officeDocument/2006/math">
                    <m:acc>
                      <m:accPr>
                        <m:chr m:val="⃑"/>
                        <m:ctrlPr>
                          <a:rPr lang="zh-CN" altLang="en-US" i="1">
                            <a:latin typeface="Cambria Math" panose="02040503050406030204" pitchFamily="18" charset="0"/>
                          </a:rPr>
                        </m:ctrlPr>
                      </m:accPr>
                      <m:e>
                        <m:r>
                          <a:rPr lang="en-US" altLang="zh-CN" i="1">
                            <a:latin typeface="Cambria Math" panose="02040503050406030204" pitchFamily="18" charset="0"/>
                          </a:rPr>
                          <m:t> </m:t>
                        </m:r>
                        <m:sSub>
                          <m:sSubPr>
                            <m:ctrlPr>
                              <a:rPr lang="en-US" altLang="zh-CN" i="1">
                                <a:latin typeface="Cambria Math" panose="02040503050406030204" pitchFamily="18" charset="0"/>
                              </a:rPr>
                            </m:ctrlPr>
                          </m:sSubPr>
                          <m:e>
                            <m:r>
                              <a:rPr lang="en-US" altLang="zh-CN" i="1">
                                <a:latin typeface="Cambria Math" panose="02040503050406030204" pitchFamily="18" charset="0"/>
                              </a:rPr>
                              <m:t>𝑆</m:t>
                            </m:r>
                          </m:e>
                          <m:sub>
                            <m:r>
                              <a:rPr lang="en-US" altLang="zh-CN" b="0" i="1" smtClean="0">
                                <a:latin typeface="Cambria Math" panose="02040503050406030204" pitchFamily="18" charset="0"/>
                              </a:rPr>
                              <m:t>2</m:t>
                            </m:r>
                          </m:sub>
                        </m:sSub>
                      </m:e>
                    </m:acc>
                    <m:r>
                      <a:rPr lang="en-US" altLang="zh-CN" b="0" i="1" smtClean="0">
                        <a:latin typeface="Cambria Math" panose="02040503050406030204" pitchFamily="18" charset="0"/>
                      </a:rPr>
                      <m:t> </m:t>
                    </m:r>
                  </m:oMath>
                </a14:m>
                <a:r>
                  <a:rPr lang="zh-CN" altLang="en-US" dirty="0"/>
                  <a:t>的概率，其中 </a:t>
                </a:r>
              </a:p>
            </p:txBody>
          </p:sp>
        </mc:Choice>
        <mc:Fallback xmlns="">
          <p:sp>
            <p:nvSpPr>
              <p:cNvPr id="19" name="文本框 18"/>
              <p:cNvSpPr txBox="1">
                <a:spLocks noRot="1" noChangeAspect="1" noMove="1" noResize="1" noEditPoints="1" noAdjustHandles="1" noChangeArrowheads="1" noChangeShapeType="1" noTextEdit="1"/>
              </p:cNvSpPr>
              <p:nvPr/>
            </p:nvSpPr>
            <p:spPr>
              <a:xfrm>
                <a:off x="2811623" y="3903306"/>
                <a:ext cx="4349204" cy="404791"/>
              </a:xfrm>
              <a:prstGeom prst="rect">
                <a:avLst/>
              </a:prstGeom>
              <a:blipFill>
                <a:blip r:embed="rId11"/>
                <a:stretch>
                  <a:fillRect l="-1120" b="-22388"/>
                </a:stretch>
              </a:blipFill>
            </p:spPr>
            <p:txBody>
              <a:bodyPr/>
              <a:lstStyle/>
              <a:p>
                <a:r>
                  <a:rPr lang="zh-CN" altLang="en-US">
                    <a:noFill/>
                  </a:rPr>
                  <a:t> </a:t>
                </a:r>
              </a:p>
            </p:txBody>
          </p:sp>
        </mc:Fallback>
      </mc:AlternateContent>
      <p:pic>
        <p:nvPicPr>
          <p:cNvPr id="20" name="图片 19"/>
          <p:cNvPicPr>
            <a:picLocks noChangeAspect="1"/>
          </p:cNvPicPr>
          <p:nvPr/>
        </p:nvPicPr>
        <p:blipFill>
          <a:blip r:embed="rId12"/>
          <a:stretch>
            <a:fillRect/>
          </a:stretch>
        </p:blipFill>
        <p:spPr>
          <a:xfrm>
            <a:off x="7080670" y="3904570"/>
            <a:ext cx="3262701" cy="444572"/>
          </a:xfrm>
          <a:prstGeom prst="rect">
            <a:avLst/>
          </a:prstGeom>
        </p:spPr>
      </p:pic>
      <p:sp>
        <p:nvSpPr>
          <p:cNvPr id="21" name="文本框 20"/>
          <p:cNvSpPr txBox="1"/>
          <p:nvPr/>
        </p:nvSpPr>
        <p:spPr>
          <a:xfrm>
            <a:off x="615819" y="4469363"/>
            <a:ext cx="2954655" cy="369332"/>
          </a:xfrm>
          <a:prstGeom prst="rect">
            <a:avLst/>
          </a:prstGeom>
          <a:noFill/>
        </p:spPr>
        <p:txBody>
          <a:bodyPr wrap="none" rtlCol="0">
            <a:spAutoFit/>
          </a:bodyPr>
          <a:lstStyle/>
          <a:p>
            <a:r>
              <a:rPr lang="zh-CN" altLang="en-US" dirty="0"/>
              <a:t>物体状态的观测由观测算子</a:t>
            </a:r>
          </a:p>
        </p:txBody>
      </p:sp>
      <p:pic>
        <p:nvPicPr>
          <p:cNvPr id="22" name="图片 21"/>
          <p:cNvPicPr>
            <a:picLocks noChangeAspect="1"/>
          </p:cNvPicPr>
          <p:nvPr/>
        </p:nvPicPr>
        <p:blipFill>
          <a:blip r:embed="rId13"/>
          <a:stretch>
            <a:fillRect/>
          </a:stretch>
        </p:blipFill>
        <p:spPr>
          <a:xfrm>
            <a:off x="3502185" y="4453910"/>
            <a:ext cx="1069813" cy="471316"/>
          </a:xfrm>
          <a:prstGeom prst="rect">
            <a:avLst/>
          </a:prstGeom>
        </p:spPr>
      </p:pic>
      <p:sp>
        <p:nvSpPr>
          <p:cNvPr id="23" name="文本框 22"/>
          <p:cNvSpPr txBox="1"/>
          <p:nvPr/>
        </p:nvSpPr>
        <p:spPr>
          <a:xfrm>
            <a:off x="4618651" y="4460033"/>
            <a:ext cx="877163" cy="369332"/>
          </a:xfrm>
          <a:prstGeom prst="rect">
            <a:avLst/>
          </a:prstGeom>
          <a:noFill/>
        </p:spPr>
        <p:txBody>
          <a:bodyPr wrap="none" rtlCol="0">
            <a:spAutoFit/>
          </a:bodyPr>
          <a:lstStyle/>
          <a:p>
            <a:r>
              <a:rPr lang="zh-CN" altLang="en-US" dirty="0"/>
              <a:t>描述。</a:t>
            </a:r>
          </a:p>
        </p:txBody>
      </p:sp>
      <mc:AlternateContent xmlns:mc="http://schemas.openxmlformats.org/markup-compatibility/2006" xmlns:a14="http://schemas.microsoft.com/office/drawing/2010/main">
        <mc:Choice Requires="a14">
          <p:sp>
            <p:nvSpPr>
              <p:cNvPr id="24" name="文本框 23"/>
              <p:cNvSpPr txBox="1"/>
              <p:nvPr/>
            </p:nvSpPr>
            <p:spPr>
              <a:xfrm>
                <a:off x="615820" y="5057192"/>
                <a:ext cx="2747547" cy="404791"/>
              </a:xfrm>
              <a:prstGeom prst="rect">
                <a:avLst/>
              </a:prstGeom>
              <a:noFill/>
            </p:spPr>
            <p:txBody>
              <a:bodyPr wrap="none" rtlCol="0">
                <a:spAutoFit/>
              </a:bodyPr>
              <a:lstStyle/>
              <a:p>
                <a:r>
                  <a:rPr lang="zh-CN" altLang="en-US" dirty="0"/>
                  <a:t>对状态向量 </a:t>
                </a:r>
                <a14:m>
                  <m:oMath xmlns:m="http://schemas.openxmlformats.org/officeDocument/2006/math">
                    <m:acc>
                      <m:accPr>
                        <m:chr m:val="⃑"/>
                        <m:ctrlPr>
                          <a:rPr lang="zh-CN" altLang="en-US" i="1">
                            <a:latin typeface="Cambria Math" panose="02040503050406030204" pitchFamily="18" charset="0"/>
                          </a:rPr>
                        </m:ctrlPr>
                      </m:accPr>
                      <m:e>
                        <m:r>
                          <a:rPr lang="en-US" altLang="zh-CN" i="1">
                            <a:latin typeface="Cambria Math" panose="02040503050406030204" pitchFamily="18" charset="0"/>
                          </a:rPr>
                          <m:t>𝑆</m:t>
                        </m:r>
                      </m:e>
                    </m:acc>
                  </m:oMath>
                </a14:m>
                <a:r>
                  <a:rPr lang="zh-CN" altLang="en-US" dirty="0"/>
                  <a:t> 观测的结果</a:t>
                </a:r>
              </a:p>
            </p:txBody>
          </p:sp>
        </mc:Choice>
        <mc:Fallback xmlns="">
          <p:sp>
            <p:nvSpPr>
              <p:cNvPr id="24" name="文本框 23"/>
              <p:cNvSpPr txBox="1">
                <a:spLocks noRot="1" noChangeAspect="1" noMove="1" noResize="1" noEditPoints="1" noAdjustHandles="1" noChangeArrowheads="1" noChangeShapeType="1" noTextEdit="1"/>
              </p:cNvSpPr>
              <p:nvPr/>
            </p:nvSpPr>
            <p:spPr>
              <a:xfrm>
                <a:off x="615820" y="5057192"/>
                <a:ext cx="2747547" cy="404791"/>
              </a:xfrm>
              <a:prstGeom prst="rect">
                <a:avLst/>
              </a:prstGeom>
              <a:blipFill>
                <a:blip r:embed="rId14"/>
                <a:stretch>
                  <a:fillRect l="-1774" t="-6061" r="-1774" b="-24242"/>
                </a:stretch>
              </a:blipFill>
            </p:spPr>
            <p:txBody>
              <a:bodyPr/>
              <a:lstStyle/>
              <a:p>
                <a:r>
                  <a:rPr lang="zh-CN" altLang="en-US">
                    <a:noFill/>
                  </a:rPr>
                  <a:t> </a:t>
                </a:r>
              </a:p>
            </p:txBody>
          </p:sp>
        </mc:Fallback>
      </mc:AlternateContent>
      <p:pic>
        <p:nvPicPr>
          <p:cNvPr id="25" name="图片 24"/>
          <p:cNvPicPr>
            <a:picLocks noChangeAspect="1"/>
          </p:cNvPicPr>
          <p:nvPr/>
        </p:nvPicPr>
        <p:blipFill>
          <a:blip r:embed="rId15"/>
          <a:stretch>
            <a:fillRect/>
          </a:stretch>
        </p:blipFill>
        <p:spPr>
          <a:xfrm>
            <a:off x="3350952" y="4994697"/>
            <a:ext cx="3964247" cy="485566"/>
          </a:xfrm>
          <a:prstGeom prst="rect">
            <a:avLst/>
          </a:prstGeom>
        </p:spPr>
      </p:pic>
      <p:sp>
        <p:nvSpPr>
          <p:cNvPr id="27" name="文本框 26"/>
          <p:cNvSpPr txBox="1"/>
          <p:nvPr/>
        </p:nvSpPr>
        <p:spPr>
          <a:xfrm>
            <a:off x="7277876" y="5066522"/>
            <a:ext cx="2262158" cy="369332"/>
          </a:xfrm>
          <a:prstGeom prst="rect">
            <a:avLst/>
          </a:prstGeom>
          <a:noFill/>
        </p:spPr>
        <p:txBody>
          <a:bodyPr wrap="none" rtlCol="0">
            <a:spAutoFit/>
          </a:bodyPr>
          <a:lstStyle/>
          <a:p>
            <a:r>
              <a:rPr lang="zh-CN" altLang="en-US" dirty="0"/>
              <a:t>及观测后的状态表示</a:t>
            </a:r>
          </a:p>
        </p:txBody>
      </p:sp>
      <p:pic>
        <p:nvPicPr>
          <p:cNvPr id="28" name="图片 27"/>
          <p:cNvPicPr>
            <a:picLocks noChangeAspect="1"/>
          </p:cNvPicPr>
          <p:nvPr/>
        </p:nvPicPr>
        <p:blipFill>
          <a:blip r:embed="rId16"/>
          <a:stretch>
            <a:fillRect/>
          </a:stretch>
        </p:blipFill>
        <p:spPr>
          <a:xfrm>
            <a:off x="9482136" y="5061759"/>
            <a:ext cx="1220075" cy="390743"/>
          </a:xfrm>
          <a:prstGeom prst="rect">
            <a:avLst/>
          </a:prstGeom>
        </p:spPr>
      </p:pic>
      <p:sp>
        <p:nvSpPr>
          <p:cNvPr id="29" name="矩形 28"/>
          <p:cNvSpPr/>
          <p:nvPr/>
        </p:nvSpPr>
        <p:spPr>
          <a:xfrm>
            <a:off x="583383" y="5642301"/>
            <a:ext cx="3877985" cy="369332"/>
          </a:xfrm>
          <a:prstGeom prst="rect">
            <a:avLst/>
          </a:prstGeom>
        </p:spPr>
        <p:txBody>
          <a:bodyPr wrap="none">
            <a:spAutoFit/>
          </a:bodyPr>
          <a:lstStyle/>
          <a:p>
            <a:r>
              <a:rPr lang="zh-CN" altLang="en-US" b="1" dirty="0">
                <a:solidFill>
                  <a:srgbClr val="FF0000"/>
                </a:solidFill>
                <a:latin typeface="Arial" panose="020B0604020202020204" pitchFamily="34" charset="0"/>
              </a:rPr>
              <a:t>量子力学系统的演化依赖于它的观测</a:t>
            </a:r>
            <a:endParaRPr lang="zh-CN" altLang="en-US" b="1" dirty="0">
              <a:solidFill>
                <a:srgbClr val="FF0000"/>
              </a:solidFill>
            </a:endParaRPr>
          </a:p>
        </p:txBody>
      </p:sp>
    </p:spTree>
    <p:extLst>
      <p:ext uri="{BB962C8B-B14F-4D97-AF65-F5344CB8AC3E}">
        <p14:creationId xmlns:p14="http://schemas.microsoft.com/office/powerpoint/2010/main" val="260036226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量子信息论的概念</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37</a:t>
            </a:fld>
            <a:endParaRPr lang="zh-CN" altLang="en-US"/>
          </a:p>
        </p:txBody>
      </p:sp>
      <p:sp>
        <p:nvSpPr>
          <p:cNvPr id="3" name="文本框 2"/>
          <p:cNvSpPr txBox="1"/>
          <p:nvPr/>
        </p:nvSpPr>
        <p:spPr>
          <a:xfrm>
            <a:off x="606490" y="1716833"/>
            <a:ext cx="1800493" cy="369332"/>
          </a:xfrm>
          <a:prstGeom prst="rect">
            <a:avLst/>
          </a:prstGeom>
          <a:noFill/>
        </p:spPr>
        <p:txBody>
          <a:bodyPr wrap="none" rtlCol="0">
            <a:spAutoFit/>
          </a:bodyPr>
          <a:lstStyle/>
          <a:p>
            <a:r>
              <a:rPr lang="zh-CN" altLang="en-US" dirty="0"/>
              <a:t>基态为量子比特</a:t>
            </a:r>
          </a:p>
        </p:txBody>
      </p:sp>
      <p:pic>
        <p:nvPicPr>
          <p:cNvPr id="10" name="图片 9"/>
          <p:cNvPicPr>
            <a:picLocks noChangeAspect="1"/>
          </p:cNvPicPr>
          <p:nvPr/>
        </p:nvPicPr>
        <p:blipFill>
          <a:blip r:embed="rId2"/>
          <a:stretch>
            <a:fillRect/>
          </a:stretch>
        </p:blipFill>
        <p:spPr>
          <a:xfrm>
            <a:off x="2325073" y="1588243"/>
            <a:ext cx="4047736" cy="614535"/>
          </a:xfrm>
          <a:prstGeom prst="rect">
            <a:avLst/>
          </a:prstGeom>
        </p:spPr>
      </p:pic>
      <p:sp>
        <p:nvSpPr>
          <p:cNvPr id="26" name="文本框 25"/>
          <p:cNvSpPr txBox="1"/>
          <p:nvPr/>
        </p:nvSpPr>
        <p:spPr>
          <a:xfrm>
            <a:off x="578498" y="2202024"/>
            <a:ext cx="1107996" cy="369332"/>
          </a:xfrm>
          <a:prstGeom prst="rect">
            <a:avLst/>
          </a:prstGeom>
          <a:noFill/>
        </p:spPr>
        <p:txBody>
          <a:bodyPr wrap="none" rtlCol="0">
            <a:spAutoFit/>
          </a:bodyPr>
          <a:lstStyle/>
          <a:p>
            <a:r>
              <a:rPr lang="zh-CN" altLang="en-US" dirty="0"/>
              <a:t>特别地，</a:t>
            </a:r>
          </a:p>
        </p:txBody>
      </p:sp>
      <p:pic>
        <p:nvPicPr>
          <p:cNvPr id="30" name="图片 29"/>
          <p:cNvPicPr>
            <a:picLocks noChangeAspect="1"/>
          </p:cNvPicPr>
          <p:nvPr/>
        </p:nvPicPr>
        <p:blipFill>
          <a:blip r:embed="rId3"/>
          <a:stretch>
            <a:fillRect/>
          </a:stretch>
        </p:blipFill>
        <p:spPr>
          <a:xfrm>
            <a:off x="1520016" y="2145069"/>
            <a:ext cx="1491170" cy="467502"/>
          </a:xfrm>
          <a:prstGeom prst="rect">
            <a:avLst/>
          </a:prstGeom>
        </p:spPr>
      </p:pic>
      <p:pic>
        <p:nvPicPr>
          <p:cNvPr id="31" name="图片 30"/>
          <p:cNvPicPr>
            <a:picLocks noChangeAspect="1"/>
          </p:cNvPicPr>
          <p:nvPr/>
        </p:nvPicPr>
        <p:blipFill>
          <a:blip r:embed="rId4"/>
          <a:stretch>
            <a:fillRect/>
          </a:stretch>
        </p:blipFill>
        <p:spPr>
          <a:xfrm>
            <a:off x="3088141" y="2135738"/>
            <a:ext cx="1427876" cy="462664"/>
          </a:xfrm>
          <a:prstGeom prst="rect">
            <a:avLst/>
          </a:prstGeom>
        </p:spPr>
      </p:pic>
      <p:sp>
        <p:nvSpPr>
          <p:cNvPr id="32" name="文本框 31"/>
          <p:cNvSpPr txBox="1"/>
          <p:nvPr/>
        </p:nvSpPr>
        <p:spPr>
          <a:xfrm>
            <a:off x="4506686" y="2192693"/>
            <a:ext cx="6442789" cy="369332"/>
          </a:xfrm>
          <a:prstGeom prst="rect">
            <a:avLst/>
          </a:prstGeom>
          <a:noFill/>
        </p:spPr>
        <p:txBody>
          <a:bodyPr wrap="none" rtlCol="0">
            <a:spAutoFit/>
          </a:bodyPr>
          <a:lstStyle/>
          <a:p>
            <a:r>
              <a:rPr lang="zh-CN" altLang="en-US" dirty="0"/>
              <a:t>对应经典信息论的</a:t>
            </a:r>
            <a:r>
              <a:rPr lang="en-US" altLang="zh-CN" dirty="0"/>
              <a:t>0</a:t>
            </a:r>
            <a:r>
              <a:rPr lang="zh-CN" altLang="en-US" dirty="0"/>
              <a:t>和</a:t>
            </a:r>
            <a:r>
              <a:rPr lang="en-US" altLang="zh-CN" dirty="0"/>
              <a:t>1</a:t>
            </a:r>
            <a:r>
              <a:rPr lang="zh-CN" altLang="en-US" dirty="0"/>
              <a:t>比特，指定了电子自旋方向上旋和下旋</a:t>
            </a:r>
          </a:p>
        </p:txBody>
      </p:sp>
      <p:pic>
        <p:nvPicPr>
          <p:cNvPr id="33" name="图片 32"/>
          <p:cNvPicPr>
            <a:picLocks noChangeAspect="1"/>
          </p:cNvPicPr>
          <p:nvPr/>
        </p:nvPicPr>
        <p:blipFill>
          <a:blip r:embed="rId5"/>
          <a:stretch>
            <a:fillRect/>
          </a:stretch>
        </p:blipFill>
        <p:spPr>
          <a:xfrm>
            <a:off x="621847" y="2714625"/>
            <a:ext cx="2939852" cy="448452"/>
          </a:xfrm>
          <a:prstGeom prst="rect">
            <a:avLst/>
          </a:prstGeom>
        </p:spPr>
      </p:pic>
      <p:sp>
        <p:nvSpPr>
          <p:cNvPr id="34" name="文本框 33"/>
          <p:cNvSpPr txBox="1"/>
          <p:nvPr/>
        </p:nvSpPr>
        <p:spPr>
          <a:xfrm>
            <a:off x="3620277" y="2715208"/>
            <a:ext cx="2300630" cy="369332"/>
          </a:xfrm>
          <a:prstGeom prst="rect">
            <a:avLst/>
          </a:prstGeom>
          <a:noFill/>
        </p:spPr>
        <p:txBody>
          <a:bodyPr wrap="none" rtlCol="0">
            <a:spAutoFit/>
          </a:bodyPr>
          <a:lstStyle/>
          <a:p>
            <a:r>
              <a:rPr lang="zh-CN" altLang="en-US" dirty="0"/>
              <a:t>任意</a:t>
            </a:r>
            <a:r>
              <a:rPr lang="en-US" altLang="zh-CN" dirty="0"/>
              <a:t>qubit</a:t>
            </a:r>
            <a:r>
              <a:rPr lang="zh-CN" altLang="en-US" dirty="0"/>
              <a:t>可以表示为</a:t>
            </a:r>
          </a:p>
        </p:txBody>
      </p:sp>
      <p:pic>
        <p:nvPicPr>
          <p:cNvPr id="35" name="图片 34"/>
          <p:cNvPicPr>
            <a:picLocks noChangeAspect="1"/>
          </p:cNvPicPr>
          <p:nvPr/>
        </p:nvPicPr>
        <p:blipFill>
          <a:blip r:embed="rId6"/>
          <a:stretch>
            <a:fillRect/>
          </a:stretch>
        </p:blipFill>
        <p:spPr>
          <a:xfrm>
            <a:off x="5897919" y="2596728"/>
            <a:ext cx="3451355" cy="569559"/>
          </a:xfrm>
          <a:prstGeom prst="rect">
            <a:avLst/>
          </a:prstGeom>
        </p:spPr>
      </p:pic>
      <p:sp>
        <p:nvSpPr>
          <p:cNvPr id="36" name="文本框 35"/>
          <p:cNvSpPr txBox="1"/>
          <p:nvPr/>
        </p:nvSpPr>
        <p:spPr>
          <a:xfrm>
            <a:off x="559837" y="3303037"/>
            <a:ext cx="2954655" cy="369332"/>
          </a:xfrm>
          <a:prstGeom prst="rect">
            <a:avLst/>
          </a:prstGeom>
          <a:noFill/>
        </p:spPr>
        <p:txBody>
          <a:bodyPr wrap="none" rtlCol="0">
            <a:spAutoFit/>
          </a:bodyPr>
          <a:lstStyle/>
          <a:p>
            <a:r>
              <a:rPr lang="zh-CN" altLang="en-US" dirty="0"/>
              <a:t>若定义了电子的左旋和右旋</a:t>
            </a:r>
          </a:p>
        </p:txBody>
      </p:sp>
      <p:pic>
        <p:nvPicPr>
          <p:cNvPr id="37" name="图片 36"/>
          <p:cNvPicPr>
            <a:picLocks noChangeAspect="1"/>
          </p:cNvPicPr>
          <p:nvPr/>
        </p:nvPicPr>
        <p:blipFill>
          <a:blip r:embed="rId7"/>
          <a:stretch>
            <a:fillRect/>
          </a:stretch>
        </p:blipFill>
        <p:spPr>
          <a:xfrm>
            <a:off x="3518225" y="3183778"/>
            <a:ext cx="5756404" cy="543741"/>
          </a:xfrm>
          <a:prstGeom prst="rect">
            <a:avLst/>
          </a:prstGeom>
        </p:spPr>
      </p:pic>
      <p:pic>
        <p:nvPicPr>
          <p:cNvPr id="38" name="图片 37"/>
          <p:cNvPicPr>
            <a:picLocks noChangeAspect="1"/>
          </p:cNvPicPr>
          <p:nvPr/>
        </p:nvPicPr>
        <p:blipFill>
          <a:blip r:embed="rId8"/>
          <a:stretch>
            <a:fillRect/>
          </a:stretch>
        </p:blipFill>
        <p:spPr>
          <a:xfrm>
            <a:off x="601338" y="3748962"/>
            <a:ext cx="7880189" cy="537465"/>
          </a:xfrm>
          <a:prstGeom prst="rect">
            <a:avLst/>
          </a:prstGeom>
        </p:spPr>
      </p:pic>
      <p:sp>
        <p:nvSpPr>
          <p:cNvPr id="39" name="文本框 38"/>
          <p:cNvSpPr txBox="1"/>
          <p:nvPr/>
        </p:nvSpPr>
        <p:spPr>
          <a:xfrm>
            <a:off x="9349274" y="3265714"/>
            <a:ext cx="415498" cy="369332"/>
          </a:xfrm>
          <a:prstGeom prst="rect">
            <a:avLst/>
          </a:prstGeom>
          <a:noFill/>
        </p:spPr>
        <p:txBody>
          <a:bodyPr wrap="none" rtlCol="0">
            <a:spAutoFit/>
          </a:bodyPr>
          <a:lstStyle/>
          <a:p>
            <a:r>
              <a:rPr lang="zh-CN" altLang="en-US" dirty="0"/>
              <a:t>则</a:t>
            </a:r>
          </a:p>
        </p:txBody>
      </p:sp>
      <p:sp>
        <p:nvSpPr>
          <p:cNvPr id="40" name="圆角矩形 39"/>
          <p:cNvSpPr/>
          <p:nvPr/>
        </p:nvSpPr>
        <p:spPr>
          <a:xfrm>
            <a:off x="4786604" y="3750906"/>
            <a:ext cx="3732245" cy="522514"/>
          </a:xfrm>
          <a:prstGeom prst="roundRect">
            <a:avLst/>
          </a:prstGeom>
          <a:noFill/>
          <a:ln w="28575">
            <a:solidFill>
              <a:srgbClr val="FF0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文本框 40"/>
          <p:cNvSpPr txBox="1"/>
          <p:nvPr/>
        </p:nvSpPr>
        <p:spPr>
          <a:xfrm>
            <a:off x="8584163" y="3816220"/>
            <a:ext cx="877163" cy="369332"/>
          </a:xfrm>
          <a:prstGeom prst="rect">
            <a:avLst/>
          </a:prstGeom>
          <a:noFill/>
        </p:spPr>
        <p:txBody>
          <a:bodyPr wrap="none" rtlCol="0">
            <a:spAutoFit/>
          </a:bodyPr>
          <a:lstStyle/>
          <a:p>
            <a:r>
              <a:rPr lang="zh-CN" altLang="en-US" dirty="0">
                <a:solidFill>
                  <a:srgbClr val="FF0000"/>
                </a:solidFill>
              </a:rPr>
              <a:t>写错了</a:t>
            </a:r>
          </a:p>
        </p:txBody>
      </p:sp>
      <p:sp>
        <p:nvSpPr>
          <p:cNvPr id="42" name="文本框 41"/>
          <p:cNvSpPr txBox="1"/>
          <p:nvPr/>
        </p:nvSpPr>
        <p:spPr>
          <a:xfrm>
            <a:off x="494522" y="4516016"/>
            <a:ext cx="646331" cy="369332"/>
          </a:xfrm>
          <a:prstGeom prst="rect">
            <a:avLst/>
          </a:prstGeom>
          <a:noFill/>
        </p:spPr>
        <p:txBody>
          <a:bodyPr wrap="none" rtlCol="0">
            <a:spAutoFit/>
          </a:bodyPr>
          <a:lstStyle/>
          <a:p>
            <a:r>
              <a:rPr lang="zh-CN" altLang="en-US" dirty="0"/>
              <a:t>由于</a:t>
            </a:r>
          </a:p>
        </p:txBody>
      </p:sp>
      <p:pic>
        <p:nvPicPr>
          <p:cNvPr id="43" name="图片 42"/>
          <p:cNvPicPr>
            <a:picLocks noChangeAspect="1"/>
          </p:cNvPicPr>
          <p:nvPr/>
        </p:nvPicPr>
        <p:blipFill>
          <a:blip r:embed="rId9"/>
          <a:stretch>
            <a:fillRect/>
          </a:stretch>
        </p:blipFill>
        <p:spPr>
          <a:xfrm>
            <a:off x="1088572" y="4434665"/>
            <a:ext cx="4313853" cy="547162"/>
          </a:xfrm>
          <a:prstGeom prst="rect">
            <a:avLst/>
          </a:prstGeom>
        </p:spPr>
      </p:pic>
      <p:pic>
        <p:nvPicPr>
          <p:cNvPr id="44" name="图片 43"/>
          <p:cNvPicPr>
            <a:picLocks noChangeAspect="1"/>
          </p:cNvPicPr>
          <p:nvPr/>
        </p:nvPicPr>
        <p:blipFill>
          <a:blip r:embed="rId10"/>
          <a:stretch>
            <a:fillRect/>
          </a:stretch>
        </p:blipFill>
        <p:spPr>
          <a:xfrm>
            <a:off x="5609544" y="4397926"/>
            <a:ext cx="4346219" cy="506122"/>
          </a:xfrm>
          <a:prstGeom prst="rect">
            <a:avLst/>
          </a:prstGeom>
        </p:spPr>
      </p:pic>
      <p:sp>
        <p:nvSpPr>
          <p:cNvPr id="45" name="文本框 44"/>
          <p:cNvSpPr txBox="1"/>
          <p:nvPr/>
        </p:nvSpPr>
        <p:spPr>
          <a:xfrm>
            <a:off x="494523" y="5085184"/>
            <a:ext cx="3647152" cy="369332"/>
          </a:xfrm>
          <a:prstGeom prst="rect">
            <a:avLst/>
          </a:prstGeom>
          <a:noFill/>
        </p:spPr>
        <p:txBody>
          <a:bodyPr wrap="none" rtlCol="0">
            <a:spAutoFit/>
          </a:bodyPr>
          <a:lstStyle/>
          <a:p>
            <a:r>
              <a:rPr lang="zh-CN" altLang="en-US" dirty="0"/>
              <a:t>所以上下旋和左右旋可以交换使用</a:t>
            </a:r>
          </a:p>
        </p:txBody>
      </p:sp>
    </p:spTree>
    <p:extLst>
      <p:ext uri="{BB962C8B-B14F-4D97-AF65-F5344CB8AC3E}">
        <p14:creationId xmlns:p14="http://schemas.microsoft.com/office/powerpoint/2010/main" val="25488752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量子信息论的概念</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38</a:t>
            </a:fld>
            <a:endParaRPr lang="zh-CN" altLang="en-US"/>
          </a:p>
        </p:txBody>
      </p:sp>
      <p:sp>
        <p:nvSpPr>
          <p:cNvPr id="5" name="文本框 4"/>
          <p:cNvSpPr txBox="1"/>
          <p:nvPr/>
        </p:nvSpPr>
        <p:spPr>
          <a:xfrm>
            <a:off x="948418" y="2095694"/>
            <a:ext cx="1338828" cy="369332"/>
          </a:xfrm>
          <a:prstGeom prst="rect">
            <a:avLst/>
          </a:prstGeom>
          <a:noFill/>
        </p:spPr>
        <p:txBody>
          <a:bodyPr wrap="none" rtlCol="0">
            <a:spAutoFit/>
          </a:bodyPr>
          <a:lstStyle/>
          <a:p>
            <a:r>
              <a:rPr lang="zh-CN" altLang="en-US" dirty="0"/>
              <a:t>泡利算子：</a:t>
            </a:r>
          </a:p>
        </p:txBody>
      </p:sp>
      <p:pic>
        <p:nvPicPr>
          <p:cNvPr id="6" name="图片 5"/>
          <p:cNvPicPr>
            <a:picLocks noChangeAspect="1"/>
          </p:cNvPicPr>
          <p:nvPr/>
        </p:nvPicPr>
        <p:blipFill>
          <a:blip r:embed="rId2"/>
          <a:stretch>
            <a:fillRect/>
          </a:stretch>
        </p:blipFill>
        <p:spPr>
          <a:xfrm>
            <a:off x="2200372" y="1907624"/>
            <a:ext cx="5811320" cy="776241"/>
          </a:xfrm>
          <a:prstGeom prst="rect">
            <a:avLst/>
          </a:prstGeom>
        </p:spPr>
      </p:pic>
      <p:sp>
        <p:nvSpPr>
          <p:cNvPr id="7" name="文本框 6"/>
          <p:cNvSpPr txBox="1"/>
          <p:nvPr/>
        </p:nvSpPr>
        <p:spPr>
          <a:xfrm>
            <a:off x="929757" y="3019425"/>
            <a:ext cx="1569660" cy="369332"/>
          </a:xfrm>
          <a:prstGeom prst="rect">
            <a:avLst/>
          </a:prstGeom>
          <a:noFill/>
        </p:spPr>
        <p:txBody>
          <a:bodyPr wrap="none" rtlCol="0">
            <a:spAutoFit/>
          </a:bodyPr>
          <a:lstStyle/>
          <a:p>
            <a:r>
              <a:rPr lang="zh-CN" altLang="en-US" dirty="0"/>
              <a:t>哈德曼算子：</a:t>
            </a:r>
          </a:p>
        </p:txBody>
      </p:sp>
      <p:pic>
        <p:nvPicPr>
          <p:cNvPr id="8" name="图片 7"/>
          <p:cNvPicPr>
            <a:picLocks noChangeAspect="1"/>
          </p:cNvPicPr>
          <p:nvPr/>
        </p:nvPicPr>
        <p:blipFill>
          <a:blip r:embed="rId3"/>
          <a:stretch>
            <a:fillRect/>
          </a:stretch>
        </p:blipFill>
        <p:spPr>
          <a:xfrm>
            <a:off x="2425472" y="2859735"/>
            <a:ext cx="1751337" cy="771165"/>
          </a:xfrm>
          <a:prstGeom prst="rect">
            <a:avLst/>
          </a:prstGeom>
        </p:spPr>
      </p:pic>
      <p:sp>
        <p:nvSpPr>
          <p:cNvPr id="9" name="文本框 8"/>
          <p:cNvSpPr txBox="1"/>
          <p:nvPr/>
        </p:nvSpPr>
        <p:spPr>
          <a:xfrm>
            <a:off x="4522042" y="3019425"/>
            <a:ext cx="1338828" cy="369332"/>
          </a:xfrm>
          <a:prstGeom prst="rect">
            <a:avLst/>
          </a:prstGeom>
          <a:noFill/>
        </p:spPr>
        <p:txBody>
          <a:bodyPr wrap="none" rtlCol="0">
            <a:spAutoFit/>
          </a:bodyPr>
          <a:lstStyle/>
          <a:p>
            <a:r>
              <a:rPr lang="zh-CN" altLang="en-US" dirty="0"/>
              <a:t>相移算子：</a:t>
            </a:r>
          </a:p>
        </p:txBody>
      </p:sp>
      <p:pic>
        <p:nvPicPr>
          <p:cNvPr id="11" name="图片 10"/>
          <p:cNvPicPr>
            <a:picLocks noChangeAspect="1"/>
          </p:cNvPicPr>
          <p:nvPr/>
        </p:nvPicPr>
        <p:blipFill>
          <a:blip r:embed="rId4"/>
          <a:stretch>
            <a:fillRect/>
          </a:stretch>
        </p:blipFill>
        <p:spPr>
          <a:xfrm>
            <a:off x="5801308" y="2807737"/>
            <a:ext cx="1535878" cy="818178"/>
          </a:xfrm>
          <a:prstGeom prst="rect">
            <a:avLst/>
          </a:prstGeom>
        </p:spPr>
      </p:pic>
      <p:sp>
        <p:nvSpPr>
          <p:cNvPr id="12" name="文本框 11"/>
          <p:cNvSpPr txBox="1"/>
          <p:nvPr/>
        </p:nvSpPr>
        <p:spPr>
          <a:xfrm>
            <a:off x="901764" y="4157759"/>
            <a:ext cx="1800493" cy="369332"/>
          </a:xfrm>
          <a:prstGeom prst="rect">
            <a:avLst/>
          </a:prstGeom>
          <a:noFill/>
        </p:spPr>
        <p:txBody>
          <a:bodyPr wrap="none" rtlCol="0">
            <a:spAutoFit/>
          </a:bodyPr>
          <a:lstStyle/>
          <a:p>
            <a:r>
              <a:rPr lang="zh-CN" altLang="en-US" dirty="0"/>
              <a:t>受控非门算子：</a:t>
            </a:r>
          </a:p>
        </p:txBody>
      </p:sp>
      <p:pic>
        <p:nvPicPr>
          <p:cNvPr id="13" name="图片 12"/>
          <p:cNvPicPr>
            <a:picLocks noChangeAspect="1"/>
          </p:cNvPicPr>
          <p:nvPr/>
        </p:nvPicPr>
        <p:blipFill>
          <a:blip r:embed="rId5"/>
          <a:stretch>
            <a:fillRect/>
          </a:stretch>
        </p:blipFill>
        <p:spPr>
          <a:xfrm>
            <a:off x="2648921" y="3647881"/>
            <a:ext cx="3462431" cy="1461600"/>
          </a:xfrm>
          <a:prstGeom prst="rect">
            <a:avLst/>
          </a:prstGeom>
        </p:spPr>
      </p:pic>
      <p:sp>
        <p:nvSpPr>
          <p:cNvPr id="14" name="文本框 13"/>
          <p:cNvSpPr txBox="1"/>
          <p:nvPr/>
        </p:nvSpPr>
        <p:spPr>
          <a:xfrm>
            <a:off x="9122034" y="3075408"/>
            <a:ext cx="2403222" cy="369332"/>
          </a:xfrm>
          <a:prstGeom prst="rect">
            <a:avLst/>
          </a:prstGeom>
          <a:noFill/>
        </p:spPr>
        <p:txBody>
          <a:bodyPr wrap="none" rtlCol="0">
            <a:spAutoFit/>
          </a:bodyPr>
          <a:lstStyle/>
          <a:p>
            <a:r>
              <a:rPr lang="en-US" altLang="zh-CN" b="1" dirty="0">
                <a:solidFill>
                  <a:srgbClr val="FF0000"/>
                </a:solidFill>
              </a:rPr>
              <a:t>Qubit</a:t>
            </a:r>
            <a:r>
              <a:rPr lang="zh-CN" altLang="en-US" b="1" dirty="0">
                <a:solidFill>
                  <a:srgbClr val="FF0000"/>
                </a:solidFill>
              </a:rPr>
              <a:t>算子都是可逆的</a:t>
            </a:r>
          </a:p>
        </p:txBody>
      </p:sp>
    </p:spTree>
    <p:extLst>
      <p:ext uri="{BB962C8B-B14F-4D97-AF65-F5344CB8AC3E}">
        <p14:creationId xmlns:p14="http://schemas.microsoft.com/office/powerpoint/2010/main" val="56897420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量子信息论的概念</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39</a:t>
            </a:fld>
            <a:endParaRPr lang="zh-CN" altLang="en-US"/>
          </a:p>
        </p:txBody>
      </p:sp>
      <p:pic>
        <p:nvPicPr>
          <p:cNvPr id="3" name="图片 2"/>
          <p:cNvPicPr>
            <a:picLocks noChangeAspect="1"/>
          </p:cNvPicPr>
          <p:nvPr/>
        </p:nvPicPr>
        <p:blipFill>
          <a:blip r:embed="rId3"/>
          <a:stretch>
            <a:fillRect/>
          </a:stretch>
        </p:blipFill>
        <p:spPr>
          <a:xfrm>
            <a:off x="1157384" y="1267602"/>
            <a:ext cx="9410700" cy="5162550"/>
          </a:xfrm>
          <a:prstGeom prst="rect">
            <a:avLst/>
          </a:prstGeom>
        </p:spPr>
      </p:pic>
    </p:spTree>
    <p:extLst>
      <p:ext uri="{BB962C8B-B14F-4D97-AF65-F5344CB8AC3E}">
        <p14:creationId xmlns:p14="http://schemas.microsoft.com/office/powerpoint/2010/main" val="7240561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2" name="íṣľiḑe">
            <a:extLst>
              <a:ext uri="{FF2B5EF4-FFF2-40B4-BE49-F238E27FC236}">
                <a16:creationId xmlns:a16="http://schemas.microsoft.com/office/drawing/2014/main" id="{8AC4395B-A0A0-4D81-B628-E4F9AB374736}"/>
              </a:ext>
            </a:extLst>
          </p:cNvPr>
          <p:cNvSpPr>
            <a:spLocks noGrp="1"/>
          </p:cNvSpPr>
          <p:nvPr>
            <p:ph type="title"/>
          </p:nvPr>
        </p:nvSpPr>
        <p:spPr/>
        <p:txBody>
          <a:bodyPr/>
          <a:lstStyle/>
          <a:p>
            <a:r>
              <a:rPr lang="zh-CN" altLang="en-US" dirty="0"/>
              <a:t>什么是量子计算</a:t>
            </a:r>
          </a:p>
        </p:txBody>
      </p:sp>
      <p:sp>
        <p:nvSpPr>
          <p:cNvPr id="4" name="ïṩḷidê">
            <a:extLst>
              <a:ext uri="{FF2B5EF4-FFF2-40B4-BE49-F238E27FC236}">
                <a16:creationId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4</a:t>
            </a:fld>
            <a:endParaRPr lang="zh-CN" altLang="en-US"/>
          </a:p>
        </p:txBody>
      </p:sp>
      <p:sp>
        <p:nvSpPr>
          <p:cNvPr id="5" name="矩形 4"/>
          <p:cNvSpPr/>
          <p:nvPr/>
        </p:nvSpPr>
        <p:spPr>
          <a:xfrm>
            <a:off x="669924" y="1582341"/>
            <a:ext cx="10850564" cy="3139321"/>
          </a:xfrm>
          <a:prstGeom prst="rect">
            <a:avLst/>
          </a:prstGeom>
        </p:spPr>
        <p:txBody>
          <a:bodyPr wrap="square">
            <a:spAutoFit/>
          </a:bodyPr>
          <a:lstStyle/>
          <a:p>
            <a:r>
              <a:rPr lang="zh-CN" altLang="en-US" dirty="0">
                <a:solidFill>
                  <a:srgbClr val="171717"/>
                </a:solidFill>
                <a:latin typeface="Segoe UI" panose="020B0502040204020203" pitchFamily="34" charset="0"/>
              </a:rPr>
              <a:t>通过利用量子物理学的独特行为并将其应用于计算，量子计算机利用</a:t>
            </a:r>
            <a:r>
              <a:rPr lang="zh-CN" altLang="en-US" dirty="0">
                <a:solidFill>
                  <a:srgbClr val="FF0000"/>
                </a:solidFill>
                <a:latin typeface="Segoe UI" panose="020B0502040204020203" pitchFamily="34" charset="0"/>
              </a:rPr>
              <a:t>叠加、纠缠和量子干涉等</a:t>
            </a:r>
            <a:r>
              <a:rPr lang="zh-CN" altLang="en-US" dirty="0">
                <a:solidFill>
                  <a:srgbClr val="171717"/>
                </a:solidFill>
                <a:latin typeface="Segoe UI" panose="020B0502040204020203" pitchFamily="34" charset="0"/>
              </a:rPr>
              <a:t>量子物理学行为，为传统的编程方法引入了新概念</a:t>
            </a:r>
            <a:endParaRPr lang="en-US" altLang="zh-CN" dirty="0">
              <a:solidFill>
                <a:srgbClr val="171717"/>
              </a:solidFill>
              <a:latin typeface="Segoe UI" panose="020B0502040204020203" pitchFamily="34" charset="0"/>
            </a:endParaRPr>
          </a:p>
          <a:p>
            <a:endParaRPr lang="zh-CN" altLang="en-US" dirty="0">
              <a:solidFill>
                <a:srgbClr val="171717"/>
              </a:solidFill>
              <a:latin typeface="Segoe UI" panose="020B0502040204020203" pitchFamily="34" charset="0"/>
            </a:endParaRPr>
          </a:p>
          <a:p>
            <a:r>
              <a:rPr lang="zh-CN" altLang="en-US" dirty="0">
                <a:solidFill>
                  <a:srgbClr val="171717"/>
                </a:solidFill>
                <a:latin typeface="Segoe UI" panose="020B0502040204020203" pitchFamily="34" charset="0"/>
              </a:rPr>
              <a:t>量子计算有望解决我们这个星球上在以下领域遇到的一些最大的挑战 </a:t>
            </a:r>
            <a:r>
              <a:rPr lang="en-US" altLang="zh-CN" dirty="0">
                <a:solidFill>
                  <a:srgbClr val="171717"/>
                </a:solidFill>
                <a:latin typeface="Segoe UI" panose="020B0502040204020203" pitchFamily="34" charset="0"/>
              </a:rPr>
              <a:t>- </a:t>
            </a:r>
            <a:r>
              <a:rPr lang="zh-CN" altLang="en-US" dirty="0">
                <a:solidFill>
                  <a:srgbClr val="171717"/>
                </a:solidFill>
                <a:latin typeface="Segoe UI" panose="020B0502040204020203" pitchFamily="34" charset="0"/>
              </a:rPr>
              <a:t>环境、农业、医疗保健、能源、气候、材料科学领域，以及我们尚未遇到的其他领域方面的问题。 对于其中的一些问题，即使是最强大的计算机也束手无策。 尽管量子技术才刚刚开始影响计算领域，但它的影响将会变得深远，并改变我们对计算的看法</a:t>
            </a:r>
            <a:endParaRPr lang="en-US" altLang="zh-CN" dirty="0">
              <a:solidFill>
                <a:srgbClr val="171717"/>
              </a:solidFill>
              <a:latin typeface="Segoe UI" panose="020B0502040204020203" pitchFamily="34" charset="0"/>
            </a:endParaRPr>
          </a:p>
          <a:p>
            <a:endParaRPr lang="zh-CN" altLang="en-US" dirty="0">
              <a:solidFill>
                <a:srgbClr val="171717"/>
              </a:solidFill>
              <a:latin typeface="Segoe UI" panose="020B0502040204020203" pitchFamily="34" charset="0"/>
            </a:endParaRPr>
          </a:p>
          <a:p>
            <a:r>
              <a:rPr lang="zh-CN" altLang="en-US" dirty="0">
                <a:solidFill>
                  <a:srgbClr val="171717"/>
                </a:solidFill>
                <a:latin typeface="Segoe UI" panose="020B0502040204020203" pitchFamily="34" charset="0"/>
              </a:rPr>
              <a:t>在现代用法中，量子一词是指任何物理属性中最小的离散单位，通常是指原子或次原子粒子的属性。 量子计算机</a:t>
            </a:r>
            <a:r>
              <a:rPr lang="zh-CN" altLang="en-US" dirty="0">
                <a:solidFill>
                  <a:srgbClr val="FF0000"/>
                </a:solidFill>
                <a:latin typeface="Segoe UI" panose="020B0502040204020203" pitchFamily="34" charset="0"/>
              </a:rPr>
              <a:t>使用实际的量子粒子、人工原子或量子粒子的集合属性作为处理单元</a:t>
            </a:r>
            <a:r>
              <a:rPr lang="zh-CN" altLang="en-US" dirty="0">
                <a:solidFill>
                  <a:srgbClr val="171717"/>
                </a:solidFill>
                <a:latin typeface="Segoe UI" panose="020B0502040204020203" pitchFamily="34" charset="0"/>
              </a:rPr>
              <a:t>，并且是大型、复杂且昂贵的设备</a:t>
            </a:r>
            <a:endParaRPr lang="zh-CN" altLang="en-US" b="0" i="0" dirty="0">
              <a:solidFill>
                <a:srgbClr val="171717"/>
              </a:solidFill>
              <a:effectLst/>
              <a:latin typeface="Segoe UI" panose="020B0502040204020203" pitchFamily="34" charset="0"/>
            </a:endParaRPr>
          </a:p>
        </p:txBody>
      </p:sp>
    </p:spTree>
    <p:custDataLst>
      <p:tags r:id="rId1"/>
    </p:custDataLst>
    <p:extLst>
      <p:ext uri="{BB962C8B-B14F-4D97-AF65-F5344CB8AC3E}">
        <p14:creationId xmlns:p14="http://schemas.microsoft.com/office/powerpoint/2010/main" val="32731173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用量子位算子控制移动机器人</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0</a:t>
            </a:fld>
            <a:endParaRPr lang="zh-CN" altLang="en-US"/>
          </a:p>
        </p:txBody>
      </p:sp>
      <p:pic>
        <p:nvPicPr>
          <p:cNvPr id="5" name="图片 4"/>
          <p:cNvPicPr>
            <a:picLocks noChangeAspect="1"/>
          </p:cNvPicPr>
          <p:nvPr/>
        </p:nvPicPr>
        <p:blipFill>
          <a:blip r:embed="rId3"/>
          <a:stretch>
            <a:fillRect/>
          </a:stretch>
        </p:blipFill>
        <p:spPr>
          <a:xfrm>
            <a:off x="847725" y="2271713"/>
            <a:ext cx="3514725" cy="503322"/>
          </a:xfrm>
          <a:prstGeom prst="rect">
            <a:avLst/>
          </a:prstGeom>
        </p:spPr>
      </p:pic>
      <p:sp>
        <p:nvSpPr>
          <p:cNvPr id="6" name="文本框 5"/>
          <p:cNvSpPr txBox="1"/>
          <p:nvPr/>
        </p:nvSpPr>
        <p:spPr>
          <a:xfrm>
            <a:off x="4362450" y="2314575"/>
            <a:ext cx="3647152" cy="369332"/>
          </a:xfrm>
          <a:prstGeom prst="rect">
            <a:avLst/>
          </a:prstGeom>
          <a:noFill/>
        </p:spPr>
        <p:txBody>
          <a:bodyPr wrap="none" rtlCol="0">
            <a:spAutoFit/>
          </a:bodyPr>
          <a:lstStyle/>
          <a:p>
            <a:r>
              <a:rPr lang="zh-CN" altLang="en-US" dirty="0"/>
              <a:t>无误的状态，对应机器人四个方向</a:t>
            </a:r>
          </a:p>
        </p:txBody>
      </p:sp>
      <p:pic>
        <p:nvPicPr>
          <p:cNvPr id="7" name="图片 6"/>
          <p:cNvPicPr>
            <a:picLocks noChangeAspect="1"/>
          </p:cNvPicPr>
          <p:nvPr/>
        </p:nvPicPr>
        <p:blipFill>
          <a:blip r:embed="rId4"/>
          <a:stretch>
            <a:fillRect/>
          </a:stretch>
        </p:blipFill>
        <p:spPr>
          <a:xfrm>
            <a:off x="804862" y="2947988"/>
            <a:ext cx="8691563" cy="416880"/>
          </a:xfrm>
          <a:prstGeom prst="rect">
            <a:avLst/>
          </a:prstGeom>
        </p:spPr>
      </p:pic>
      <p:sp>
        <p:nvSpPr>
          <p:cNvPr id="8" name="文本框 7"/>
          <p:cNvSpPr txBox="1"/>
          <p:nvPr/>
        </p:nvSpPr>
        <p:spPr>
          <a:xfrm>
            <a:off x="771525" y="3429000"/>
            <a:ext cx="4339650" cy="369332"/>
          </a:xfrm>
          <a:prstGeom prst="rect">
            <a:avLst/>
          </a:prstGeom>
          <a:noFill/>
        </p:spPr>
        <p:txBody>
          <a:bodyPr wrap="none" rtlCol="0">
            <a:spAutoFit/>
          </a:bodyPr>
          <a:lstStyle/>
          <a:p>
            <a:r>
              <a:rPr lang="zh-CN" altLang="en-US" dirty="0"/>
              <a:t>对应机器人的动作，受到一定距离的限制</a:t>
            </a:r>
          </a:p>
        </p:txBody>
      </p:sp>
      <p:grpSp>
        <p:nvGrpSpPr>
          <p:cNvPr id="18" name="组合 17"/>
          <p:cNvGrpSpPr/>
          <p:nvPr/>
        </p:nvGrpSpPr>
        <p:grpSpPr>
          <a:xfrm>
            <a:off x="762000" y="3905250"/>
            <a:ext cx="10377487" cy="552450"/>
            <a:chOff x="657225" y="3038475"/>
            <a:chExt cx="10377487" cy="552450"/>
          </a:xfrm>
        </p:grpSpPr>
        <p:sp>
          <p:nvSpPr>
            <p:cNvPr id="9" name="文本框 8"/>
            <p:cNvSpPr txBox="1"/>
            <p:nvPr/>
          </p:nvSpPr>
          <p:spPr>
            <a:xfrm>
              <a:off x="657225" y="3114675"/>
              <a:ext cx="1992853" cy="369332"/>
            </a:xfrm>
            <a:prstGeom prst="rect">
              <a:avLst/>
            </a:prstGeom>
            <a:noFill/>
          </p:spPr>
          <p:txBody>
            <a:bodyPr wrap="none" rtlCol="0">
              <a:spAutoFit/>
            </a:bodyPr>
            <a:lstStyle/>
            <a:p>
              <a:r>
                <a:rPr lang="zh-CN" altLang="en-US" dirty="0"/>
                <a:t>在时刻 </a:t>
              </a:r>
              <a:r>
                <a:rPr lang="en-US" altLang="zh-CN" dirty="0"/>
                <a:t>t </a:t>
              </a:r>
              <a:r>
                <a:rPr lang="zh-CN" altLang="en-US" dirty="0"/>
                <a:t>处于状态</a:t>
              </a:r>
            </a:p>
          </p:txBody>
        </p:sp>
        <p:pic>
          <p:nvPicPr>
            <p:cNvPr id="11" name="图片 10"/>
            <p:cNvPicPr>
              <a:picLocks noChangeAspect="1"/>
            </p:cNvPicPr>
            <p:nvPr/>
          </p:nvPicPr>
          <p:blipFill>
            <a:blip r:embed="rId5"/>
            <a:stretch>
              <a:fillRect/>
            </a:stretch>
          </p:blipFill>
          <p:spPr>
            <a:xfrm>
              <a:off x="2633662" y="3038475"/>
              <a:ext cx="885825" cy="400050"/>
            </a:xfrm>
            <a:prstGeom prst="rect">
              <a:avLst/>
            </a:prstGeom>
          </p:spPr>
        </p:pic>
        <p:sp>
          <p:nvSpPr>
            <p:cNvPr id="12" name="文本框 11"/>
            <p:cNvSpPr txBox="1"/>
            <p:nvPr/>
          </p:nvSpPr>
          <p:spPr>
            <a:xfrm>
              <a:off x="3533775" y="3105150"/>
              <a:ext cx="2031325" cy="369332"/>
            </a:xfrm>
            <a:prstGeom prst="rect">
              <a:avLst/>
            </a:prstGeom>
            <a:noFill/>
          </p:spPr>
          <p:txBody>
            <a:bodyPr wrap="none" rtlCol="0">
              <a:spAutoFit/>
            </a:bodyPr>
            <a:lstStyle/>
            <a:p>
              <a:r>
                <a:rPr lang="zh-CN" altLang="en-US" dirty="0"/>
                <a:t>的机器人执行动作</a:t>
              </a:r>
            </a:p>
          </p:txBody>
        </p:sp>
        <p:pic>
          <p:nvPicPr>
            <p:cNvPr id="13" name="图片 12"/>
            <p:cNvPicPr>
              <a:picLocks noChangeAspect="1"/>
            </p:cNvPicPr>
            <p:nvPr/>
          </p:nvPicPr>
          <p:blipFill>
            <a:blip r:embed="rId6"/>
            <a:stretch>
              <a:fillRect/>
            </a:stretch>
          </p:blipFill>
          <p:spPr>
            <a:xfrm>
              <a:off x="5491162" y="3095625"/>
              <a:ext cx="981075" cy="400050"/>
            </a:xfrm>
            <a:prstGeom prst="rect">
              <a:avLst/>
            </a:prstGeom>
          </p:spPr>
        </p:pic>
        <p:sp>
          <p:nvSpPr>
            <p:cNvPr id="15" name="文本框 14"/>
            <p:cNvSpPr txBox="1"/>
            <p:nvPr/>
          </p:nvSpPr>
          <p:spPr>
            <a:xfrm>
              <a:off x="6524625" y="3114675"/>
              <a:ext cx="2492990" cy="369332"/>
            </a:xfrm>
            <a:prstGeom prst="rect">
              <a:avLst/>
            </a:prstGeom>
            <a:noFill/>
          </p:spPr>
          <p:txBody>
            <a:bodyPr wrap="none" rtlCol="0">
              <a:spAutoFit/>
            </a:bodyPr>
            <a:lstStyle/>
            <a:p>
              <a:r>
                <a:rPr lang="zh-CN" altLang="en-US" dirty="0"/>
                <a:t>机器人输入有限标量值</a:t>
              </a:r>
            </a:p>
          </p:txBody>
        </p:sp>
        <p:pic>
          <p:nvPicPr>
            <p:cNvPr id="16" name="图片 15"/>
            <p:cNvPicPr>
              <a:picLocks noChangeAspect="1"/>
            </p:cNvPicPr>
            <p:nvPr/>
          </p:nvPicPr>
          <p:blipFill>
            <a:blip r:embed="rId7"/>
            <a:stretch>
              <a:fillRect/>
            </a:stretch>
          </p:blipFill>
          <p:spPr>
            <a:xfrm>
              <a:off x="9024937" y="3038475"/>
              <a:ext cx="2009775" cy="552450"/>
            </a:xfrm>
            <a:prstGeom prst="rect">
              <a:avLst/>
            </a:prstGeom>
          </p:spPr>
        </p:pic>
      </p:grpSp>
      <p:sp>
        <p:nvSpPr>
          <p:cNvPr id="17" name="文本框 16"/>
          <p:cNvSpPr txBox="1"/>
          <p:nvPr/>
        </p:nvSpPr>
        <p:spPr>
          <a:xfrm>
            <a:off x="733627" y="4506947"/>
            <a:ext cx="3416320" cy="369332"/>
          </a:xfrm>
          <a:prstGeom prst="rect">
            <a:avLst/>
          </a:prstGeom>
          <a:noFill/>
        </p:spPr>
        <p:txBody>
          <a:bodyPr wrap="none" rtlCol="0">
            <a:spAutoFit/>
          </a:bodyPr>
          <a:lstStyle/>
          <a:p>
            <a:r>
              <a:rPr lang="zh-CN" altLang="en-US" dirty="0"/>
              <a:t>这取决于机器人在环境中的位置</a:t>
            </a:r>
          </a:p>
        </p:txBody>
      </p:sp>
    </p:spTree>
    <p:extLst>
      <p:ext uri="{BB962C8B-B14F-4D97-AF65-F5344CB8AC3E}">
        <p14:creationId xmlns:p14="http://schemas.microsoft.com/office/powerpoint/2010/main" val="406391117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用量子位算子控制移动机器人</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1</a:t>
            </a:fld>
            <a:endParaRPr lang="zh-CN" altLang="en-US"/>
          </a:p>
        </p:txBody>
      </p:sp>
      <p:sp>
        <p:nvSpPr>
          <p:cNvPr id="23" name="文本框 22"/>
          <p:cNvSpPr txBox="1"/>
          <p:nvPr/>
        </p:nvSpPr>
        <p:spPr>
          <a:xfrm>
            <a:off x="942975" y="1619250"/>
            <a:ext cx="3454792" cy="369332"/>
          </a:xfrm>
          <a:prstGeom prst="rect">
            <a:avLst/>
          </a:prstGeom>
          <a:noFill/>
        </p:spPr>
        <p:txBody>
          <a:bodyPr wrap="none" rtlCol="0">
            <a:spAutoFit/>
          </a:bodyPr>
          <a:lstStyle/>
          <a:p>
            <a:r>
              <a:rPr lang="zh-CN" altLang="en-US" dirty="0"/>
              <a:t>假设用四个</a:t>
            </a:r>
            <a:r>
              <a:rPr lang="en-US" altLang="zh-CN" dirty="0"/>
              <a:t>qubit</a:t>
            </a:r>
            <a:r>
              <a:rPr lang="zh-CN" altLang="en-US" dirty="0"/>
              <a:t>描述机器人状态</a:t>
            </a:r>
          </a:p>
        </p:txBody>
      </p:sp>
      <p:pic>
        <p:nvPicPr>
          <p:cNvPr id="24" name="图片 23"/>
          <p:cNvPicPr>
            <a:picLocks noChangeAspect="1"/>
          </p:cNvPicPr>
          <p:nvPr/>
        </p:nvPicPr>
        <p:blipFill>
          <a:blip r:embed="rId3"/>
          <a:stretch>
            <a:fillRect/>
          </a:stretch>
        </p:blipFill>
        <p:spPr>
          <a:xfrm>
            <a:off x="942975" y="2081213"/>
            <a:ext cx="2238375" cy="449198"/>
          </a:xfrm>
          <a:prstGeom prst="rect">
            <a:avLst/>
          </a:prstGeom>
        </p:spPr>
      </p:pic>
      <p:pic>
        <p:nvPicPr>
          <p:cNvPr id="25" name="图片 24"/>
          <p:cNvPicPr>
            <a:picLocks noChangeAspect="1"/>
          </p:cNvPicPr>
          <p:nvPr/>
        </p:nvPicPr>
        <p:blipFill rotWithShape="1">
          <a:blip r:embed="rId4"/>
          <a:srcRect r="77356"/>
          <a:stretch/>
        </p:blipFill>
        <p:spPr>
          <a:xfrm>
            <a:off x="3293623" y="1971472"/>
            <a:ext cx="2476095" cy="613936"/>
          </a:xfrm>
          <a:prstGeom prst="rect">
            <a:avLst/>
          </a:prstGeom>
        </p:spPr>
      </p:pic>
      <p:pic>
        <p:nvPicPr>
          <p:cNvPr id="26" name="图片 25"/>
          <p:cNvPicPr>
            <a:picLocks noChangeAspect="1"/>
          </p:cNvPicPr>
          <p:nvPr/>
        </p:nvPicPr>
        <p:blipFill rotWithShape="1">
          <a:blip r:embed="rId4"/>
          <a:srcRect l="24453"/>
          <a:stretch/>
        </p:blipFill>
        <p:spPr>
          <a:xfrm>
            <a:off x="866977" y="2649166"/>
            <a:ext cx="8260809" cy="613936"/>
          </a:xfrm>
          <a:prstGeom prst="rect">
            <a:avLst/>
          </a:prstGeom>
        </p:spPr>
      </p:pic>
      <p:sp>
        <p:nvSpPr>
          <p:cNvPr id="27" name="文本框 26"/>
          <p:cNvSpPr txBox="1"/>
          <p:nvPr/>
        </p:nvSpPr>
        <p:spPr>
          <a:xfrm>
            <a:off x="923925" y="3581400"/>
            <a:ext cx="646331" cy="369332"/>
          </a:xfrm>
          <a:prstGeom prst="rect">
            <a:avLst/>
          </a:prstGeom>
          <a:noFill/>
        </p:spPr>
        <p:txBody>
          <a:bodyPr wrap="none" rtlCol="0">
            <a:spAutoFit/>
          </a:bodyPr>
          <a:lstStyle/>
          <a:p>
            <a:r>
              <a:rPr lang="zh-CN" altLang="en-US" dirty="0"/>
              <a:t>右转</a:t>
            </a:r>
          </a:p>
        </p:txBody>
      </p:sp>
      <p:pic>
        <p:nvPicPr>
          <p:cNvPr id="28" name="图片 27"/>
          <p:cNvPicPr>
            <a:picLocks noChangeAspect="1"/>
          </p:cNvPicPr>
          <p:nvPr/>
        </p:nvPicPr>
        <p:blipFill>
          <a:blip r:embed="rId5"/>
          <a:stretch>
            <a:fillRect/>
          </a:stretch>
        </p:blipFill>
        <p:spPr>
          <a:xfrm>
            <a:off x="1595437" y="3390901"/>
            <a:ext cx="1928813" cy="788036"/>
          </a:xfrm>
          <a:prstGeom prst="rect">
            <a:avLst/>
          </a:prstGeom>
        </p:spPr>
      </p:pic>
      <p:sp>
        <p:nvSpPr>
          <p:cNvPr id="29" name="文本框 28"/>
          <p:cNvSpPr txBox="1"/>
          <p:nvPr/>
        </p:nvSpPr>
        <p:spPr>
          <a:xfrm>
            <a:off x="3876675" y="3571875"/>
            <a:ext cx="646331" cy="369332"/>
          </a:xfrm>
          <a:prstGeom prst="rect">
            <a:avLst/>
          </a:prstGeom>
          <a:noFill/>
        </p:spPr>
        <p:txBody>
          <a:bodyPr wrap="none" rtlCol="0">
            <a:spAutoFit/>
          </a:bodyPr>
          <a:lstStyle/>
          <a:p>
            <a:r>
              <a:rPr lang="zh-CN" altLang="en-US" dirty="0"/>
              <a:t>左转</a:t>
            </a:r>
          </a:p>
        </p:txBody>
      </p:sp>
      <p:pic>
        <p:nvPicPr>
          <p:cNvPr id="30" name="图片 29"/>
          <p:cNvPicPr>
            <a:picLocks noChangeAspect="1"/>
          </p:cNvPicPr>
          <p:nvPr/>
        </p:nvPicPr>
        <p:blipFill>
          <a:blip r:embed="rId6"/>
          <a:stretch>
            <a:fillRect/>
          </a:stretch>
        </p:blipFill>
        <p:spPr>
          <a:xfrm>
            <a:off x="4595812" y="3371850"/>
            <a:ext cx="2062163" cy="809868"/>
          </a:xfrm>
          <a:prstGeom prst="rect">
            <a:avLst/>
          </a:prstGeom>
        </p:spPr>
      </p:pic>
      <p:pic>
        <p:nvPicPr>
          <p:cNvPr id="3" name="图片 2"/>
          <p:cNvPicPr>
            <a:picLocks noChangeAspect="1"/>
          </p:cNvPicPr>
          <p:nvPr/>
        </p:nvPicPr>
        <p:blipFill>
          <a:blip r:embed="rId7"/>
          <a:stretch>
            <a:fillRect/>
          </a:stretch>
        </p:blipFill>
        <p:spPr>
          <a:xfrm>
            <a:off x="928687" y="4310062"/>
            <a:ext cx="5395913" cy="489031"/>
          </a:xfrm>
          <a:prstGeom prst="rect">
            <a:avLst/>
          </a:prstGeom>
        </p:spPr>
      </p:pic>
      <p:pic>
        <p:nvPicPr>
          <p:cNvPr id="10" name="图片 9"/>
          <p:cNvPicPr>
            <a:picLocks noChangeAspect="1"/>
          </p:cNvPicPr>
          <p:nvPr/>
        </p:nvPicPr>
        <p:blipFill>
          <a:blip r:embed="rId8"/>
          <a:stretch>
            <a:fillRect/>
          </a:stretch>
        </p:blipFill>
        <p:spPr>
          <a:xfrm>
            <a:off x="6548437" y="4329113"/>
            <a:ext cx="1547813" cy="448274"/>
          </a:xfrm>
          <a:prstGeom prst="rect">
            <a:avLst/>
          </a:prstGeom>
        </p:spPr>
      </p:pic>
      <p:pic>
        <p:nvPicPr>
          <p:cNvPr id="14" name="图片 13"/>
          <p:cNvPicPr>
            <a:picLocks noChangeAspect="1"/>
          </p:cNvPicPr>
          <p:nvPr/>
        </p:nvPicPr>
        <p:blipFill>
          <a:blip r:embed="rId9"/>
          <a:stretch>
            <a:fillRect/>
          </a:stretch>
        </p:blipFill>
        <p:spPr>
          <a:xfrm>
            <a:off x="881062" y="5062537"/>
            <a:ext cx="1852613" cy="428771"/>
          </a:xfrm>
          <a:prstGeom prst="rect">
            <a:avLst/>
          </a:prstGeom>
        </p:spPr>
      </p:pic>
      <p:pic>
        <p:nvPicPr>
          <p:cNvPr id="31" name="图片 30"/>
          <p:cNvPicPr>
            <a:picLocks noChangeAspect="1"/>
          </p:cNvPicPr>
          <p:nvPr/>
        </p:nvPicPr>
        <p:blipFill>
          <a:blip r:embed="rId10"/>
          <a:stretch>
            <a:fillRect/>
          </a:stretch>
        </p:blipFill>
        <p:spPr>
          <a:xfrm>
            <a:off x="2814638" y="5029200"/>
            <a:ext cx="6224588" cy="479429"/>
          </a:xfrm>
          <a:prstGeom prst="rect">
            <a:avLst/>
          </a:prstGeom>
        </p:spPr>
      </p:pic>
    </p:spTree>
    <p:extLst>
      <p:ext uri="{BB962C8B-B14F-4D97-AF65-F5344CB8AC3E}">
        <p14:creationId xmlns:p14="http://schemas.microsoft.com/office/powerpoint/2010/main" val="49071897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用量子位算子控制移动机器人</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2</a:t>
            </a:fld>
            <a:endParaRPr lang="zh-CN" altLang="en-US"/>
          </a:p>
        </p:txBody>
      </p:sp>
      <p:sp>
        <p:nvSpPr>
          <p:cNvPr id="5" name="文本框 4"/>
          <p:cNvSpPr txBox="1"/>
          <p:nvPr/>
        </p:nvSpPr>
        <p:spPr>
          <a:xfrm>
            <a:off x="742950" y="2105025"/>
            <a:ext cx="2262158" cy="369332"/>
          </a:xfrm>
          <a:prstGeom prst="rect">
            <a:avLst/>
          </a:prstGeom>
          <a:noFill/>
        </p:spPr>
        <p:txBody>
          <a:bodyPr wrap="none" rtlCol="0">
            <a:spAutoFit/>
          </a:bodyPr>
          <a:lstStyle/>
          <a:p>
            <a:r>
              <a:rPr lang="zh-CN" altLang="en-US" dirty="0"/>
              <a:t>假设机器人处于状态</a:t>
            </a:r>
          </a:p>
        </p:txBody>
      </p:sp>
      <p:pic>
        <p:nvPicPr>
          <p:cNvPr id="6" name="图片 5"/>
          <p:cNvPicPr>
            <a:picLocks noChangeAspect="1"/>
          </p:cNvPicPr>
          <p:nvPr/>
        </p:nvPicPr>
        <p:blipFill>
          <a:blip r:embed="rId3"/>
          <a:stretch>
            <a:fillRect/>
          </a:stretch>
        </p:blipFill>
        <p:spPr>
          <a:xfrm>
            <a:off x="3648075" y="2043113"/>
            <a:ext cx="4000500" cy="473954"/>
          </a:xfrm>
          <a:prstGeom prst="rect">
            <a:avLst/>
          </a:prstGeom>
        </p:spPr>
      </p:pic>
      <p:pic>
        <p:nvPicPr>
          <p:cNvPr id="7" name="图片 6"/>
          <p:cNvPicPr>
            <a:picLocks noChangeAspect="1"/>
          </p:cNvPicPr>
          <p:nvPr/>
        </p:nvPicPr>
        <p:blipFill>
          <a:blip r:embed="rId4"/>
          <a:stretch>
            <a:fillRect/>
          </a:stretch>
        </p:blipFill>
        <p:spPr>
          <a:xfrm>
            <a:off x="2991929" y="2105025"/>
            <a:ext cx="484696" cy="414337"/>
          </a:xfrm>
          <a:prstGeom prst="rect">
            <a:avLst/>
          </a:prstGeom>
        </p:spPr>
      </p:pic>
      <p:sp>
        <p:nvSpPr>
          <p:cNvPr id="8" name="文本框 7"/>
          <p:cNvSpPr txBox="1"/>
          <p:nvPr/>
        </p:nvSpPr>
        <p:spPr>
          <a:xfrm>
            <a:off x="723900" y="2733675"/>
            <a:ext cx="3185487" cy="369332"/>
          </a:xfrm>
          <a:prstGeom prst="rect">
            <a:avLst/>
          </a:prstGeom>
          <a:noFill/>
        </p:spPr>
        <p:txBody>
          <a:bodyPr wrap="none" rtlCol="0">
            <a:spAutoFit/>
          </a:bodyPr>
          <a:lstStyle/>
          <a:p>
            <a:r>
              <a:rPr lang="zh-CN" altLang="en-US" dirty="0"/>
              <a:t>则机器人下一时刻转变成状态</a:t>
            </a:r>
          </a:p>
        </p:txBody>
      </p:sp>
      <p:pic>
        <p:nvPicPr>
          <p:cNvPr id="9" name="图片 8"/>
          <p:cNvPicPr>
            <a:picLocks noChangeAspect="1"/>
          </p:cNvPicPr>
          <p:nvPr/>
        </p:nvPicPr>
        <p:blipFill>
          <a:blip r:embed="rId5"/>
          <a:stretch>
            <a:fillRect/>
          </a:stretch>
        </p:blipFill>
        <p:spPr>
          <a:xfrm>
            <a:off x="5424487" y="2600325"/>
            <a:ext cx="5853113" cy="538394"/>
          </a:xfrm>
          <a:prstGeom prst="rect">
            <a:avLst/>
          </a:prstGeom>
        </p:spPr>
      </p:pic>
      <p:pic>
        <p:nvPicPr>
          <p:cNvPr id="11" name="图片 10"/>
          <p:cNvPicPr>
            <a:picLocks noChangeAspect="1"/>
          </p:cNvPicPr>
          <p:nvPr/>
        </p:nvPicPr>
        <p:blipFill>
          <a:blip r:embed="rId6"/>
          <a:stretch>
            <a:fillRect/>
          </a:stretch>
        </p:blipFill>
        <p:spPr>
          <a:xfrm>
            <a:off x="3819525" y="2695575"/>
            <a:ext cx="466725" cy="424295"/>
          </a:xfrm>
          <a:prstGeom prst="rect">
            <a:avLst/>
          </a:prstGeom>
        </p:spPr>
      </p:pic>
      <p:sp>
        <p:nvSpPr>
          <p:cNvPr id="12" name="文本框 11"/>
          <p:cNvSpPr txBox="1"/>
          <p:nvPr/>
        </p:nvSpPr>
        <p:spPr>
          <a:xfrm>
            <a:off x="4295775" y="2733675"/>
            <a:ext cx="1107996" cy="369332"/>
          </a:xfrm>
          <a:prstGeom prst="rect">
            <a:avLst/>
          </a:prstGeom>
          <a:noFill/>
        </p:spPr>
        <p:txBody>
          <a:bodyPr wrap="none" rtlCol="0">
            <a:spAutoFit/>
          </a:bodyPr>
          <a:lstStyle/>
          <a:p>
            <a:r>
              <a:rPr lang="zh-CN" altLang="en-US" dirty="0"/>
              <a:t>的概率为</a:t>
            </a:r>
          </a:p>
        </p:txBody>
      </p:sp>
      <p:pic>
        <p:nvPicPr>
          <p:cNvPr id="13" name="图片 12"/>
          <p:cNvPicPr>
            <a:picLocks noChangeAspect="1"/>
          </p:cNvPicPr>
          <p:nvPr/>
        </p:nvPicPr>
        <p:blipFill>
          <a:blip r:embed="rId7"/>
          <a:stretch>
            <a:fillRect/>
          </a:stretch>
        </p:blipFill>
        <p:spPr>
          <a:xfrm>
            <a:off x="723900" y="3224213"/>
            <a:ext cx="2809875" cy="482418"/>
          </a:xfrm>
          <a:prstGeom prst="rect">
            <a:avLst/>
          </a:prstGeom>
        </p:spPr>
      </p:pic>
      <p:pic>
        <p:nvPicPr>
          <p:cNvPr id="15" name="图片 14"/>
          <p:cNvPicPr>
            <a:picLocks noChangeAspect="1"/>
          </p:cNvPicPr>
          <p:nvPr/>
        </p:nvPicPr>
        <p:blipFill>
          <a:blip r:embed="rId8"/>
          <a:stretch>
            <a:fillRect/>
          </a:stretch>
        </p:blipFill>
        <p:spPr>
          <a:xfrm>
            <a:off x="742951" y="3709988"/>
            <a:ext cx="2743200" cy="443261"/>
          </a:xfrm>
          <a:prstGeom prst="rect">
            <a:avLst/>
          </a:prstGeom>
        </p:spPr>
      </p:pic>
      <p:pic>
        <p:nvPicPr>
          <p:cNvPr id="16" name="图片 15"/>
          <p:cNvPicPr>
            <a:picLocks noChangeAspect="1"/>
          </p:cNvPicPr>
          <p:nvPr/>
        </p:nvPicPr>
        <p:blipFill>
          <a:blip r:embed="rId9"/>
          <a:stretch>
            <a:fillRect/>
          </a:stretch>
        </p:blipFill>
        <p:spPr>
          <a:xfrm>
            <a:off x="738187" y="4186237"/>
            <a:ext cx="2747963" cy="442681"/>
          </a:xfrm>
          <a:prstGeom prst="rect">
            <a:avLst/>
          </a:prstGeom>
        </p:spPr>
      </p:pic>
      <p:pic>
        <p:nvPicPr>
          <p:cNvPr id="17" name="图片 16"/>
          <p:cNvPicPr>
            <a:picLocks noChangeAspect="1"/>
          </p:cNvPicPr>
          <p:nvPr/>
        </p:nvPicPr>
        <p:blipFill>
          <a:blip r:embed="rId10"/>
          <a:stretch>
            <a:fillRect/>
          </a:stretch>
        </p:blipFill>
        <p:spPr>
          <a:xfrm>
            <a:off x="747713" y="4652963"/>
            <a:ext cx="2738438" cy="460594"/>
          </a:xfrm>
          <a:prstGeom prst="rect">
            <a:avLst/>
          </a:prstGeom>
        </p:spPr>
      </p:pic>
      <p:sp>
        <p:nvSpPr>
          <p:cNvPr id="18" name="右箭头 17"/>
          <p:cNvSpPr/>
          <p:nvPr/>
        </p:nvSpPr>
        <p:spPr>
          <a:xfrm>
            <a:off x="3790950" y="3857625"/>
            <a:ext cx="1000125" cy="457200"/>
          </a:xfrm>
          <a:prstGeom prst="rightArrow">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9" name="图片 18"/>
          <p:cNvPicPr>
            <a:picLocks noChangeAspect="1"/>
          </p:cNvPicPr>
          <p:nvPr/>
        </p:nvPicPr>
        <p:blipFill>
          <a:blip r:embed="rId11"/>
          <a:stretch>
            <a:fillRect/>
          </a:stretch>
        </p:blipFill>
        <p:spPr>
          <a:xfrm>
            <a:off x="4991100" y="3752850"/>
            <a:ext cx="4895850" cy="580598"/>
          </a:xfrm>
          <a:prstGeom prst="rect">
            <a:avLst/>
          </a:prstGeom>
        </p:spPr>
      </p:pic>
    </p:spTree>
    <p:extLst>
      <p:ext uri="{BB962C8B-B14F-4D97-AF65-F5344CB8AC3E}">
        <p14:creationId xmlns:p14="http://schemas.microsoft.com/office/powerpoint/2010/main" val="113674784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用量子位算子控制移动机器人</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3</a:t>
            </a:fld>
            <a:endParaRPr lang="zh-CN" altLang="en-US"/>
          </a:p>
        </p:txBody>
      </p:sp>
      <p:pic>
        <p:nvPicPr>
          <p:cNvPr id="10" name="图片 9"/>
          <p:cNvPicPr>
            <a:picLocks noChangeAspect="1"/>
          </p:cNvPicPr>
          <p:nvPr/>
        </p:nvPicPr>
        <p:blipFill>
          <a:blip r:embed="rId3"/>
          <a:stretch>
            <a:fillRect/>
          </a:stretch>
        </p:blipFill>
        <p:spPr>
          <a:xfrm>
            <a:off x="976313" y="1914525"/>
            <a:ext cx="3767138" cy="471875"/>
          </a:xfrm>
          <a:prstGeom prst="rect">
            <a:avLst/>
          </a:prstGeom>
        </p:spPr>
      </p:pic>
      <p:pic>
        <p:nvPicPr>
          <p:cNvPr id="14" name="图片 13"/>
          <p:cNvPicPr>
            <a:picLocks noChangeAspect="1"/>
          </p:cNvPicPr>
          <p:nvPr/>
        </p:nvPicPr>
        <p:blipFill>
          <a:blip r:embed="rId4"/>
          <a:stretch>
            <a:fillRect/>
          </a:stretch>
        </p:blipFill>
        <p:spPr>
          <a:xfrm>
            <a:off x="4876800" y="1905000"/>
            <a:ext cx="4238625" cy="494781"/>
          </a:xfrm>
          <a:prstGeom prst="rect">
            <a:avLst/>
          </a:prstGeom>
        </p:spPr>
      </p:pic>
      <p:sp>
        <p:nvSpPr>
          <p:cNvPr id="20" name="文本框 19"/>
          <p:cNvSpPr txBox="1"/>
          <p:nvPr/>
        </p:nvSpPr>
        <p:spPr>
          <a:xfrm>
            <a:off x="914400" y="2514600"/>
            <a:ext cx="3185487" cy="369332"/>
          </a:xfrm>
          <a:prstGeom prst="rect">
            <a:avLst/>
          </a:prstGeom>
          <a:noFill/>
        </p:spPr>
        <p:txBody>
          <a:bodyPr wrap="none" rtlCol="0">
            <a:spAutoFit/>
          </a:bodyPr>
          <a:lstStyle/>
          <a:p>
            <a:r>
              <a:rPr lang="zh-CN" altLang="en-US" dirty="0"/>
              <a:t>则状态可以由密度矩阵表示：</a:t>
            </a:r>
          </a:p>
        </p:txBody>
      </p:sp>
      <p:pic>
        <p:nvPicPr>
          <p:cNvPr id="21" name="图片 20"/>
          <p:cNvPicPr>
            <a:picLocks noChangeAspect="1"/>
          </p:cNvPicPr>
          <p:nvPr/>
        </p:nvPicPr>
        <p:blipFill>
          <a:blip r:embed="rId5"/>
          <a:stretch>
            <a:fillRect/>
          </a:stretch>
        </p:blipFill>
        <p:spPr>
          <a:xfrm>
            <a:off x="985837" y="2943225"/>
            <a:ext cx="5738813" cy="919524"/>
          </a:xfrm>
          <a:prstGeom prst="rect">
            <a:avLst/>
          </a:prstGeom>
        </p:spPr>
      </p:pic>
      <p:pic>
        <p:nvPicPr>
          <p:cNvPr id="22" name="图片 21"/>
          <p:cNvPicPr>
            <a:picLocks noChangeAspect="1"/>
          </p:cNvPicPr>
          <p:nvPr/>
        </p:nvPicPr>
        <p:blipFill>
          <a:blip r:embed="rId6"/>
          <a:stretch>
            <a:fillRect/>
          </a:stretch>
        </p:blipFill>
        <p:spPr>
          <a:xfrm>
            <a:off x="919162" y="3843337"/>
            <a:ext cx="9110663" cy="1202287"/>
          </a:xfrm>
          <a:prstGeom prst="rect">
            <a:avLst/>
          </a:prstGeom>
        </p:spPr>
      </p:pic>
    </p:spTree>
    <p:extLst>
      <p:ext uri="{BB962C8B-B14F-4D97-AF65-F5344CB8AC3E}">
        <p14:creationId xmlns:p14="http://schemas.microsoft.com/office/powerpoint/2010/main" val="36753148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用量子位算子控制移动机器人</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4</a:t>
            </a:fld>
            <a:endParaRPr lang="zh-CN" altLang="en-US"/>
          </a:p>
        </p:txBody>
      </p:sp>
      <p:sp>
        <p:nvSpPr>
          <p:cNvPr id="3" name="文本框 2"/>
          <p:cNvSpPr txBox="1"/>
          <p:nvPr/>
        </p:nvSpPr>
        <p:spPr>
          <a:xfrm>
            <a:off x="819150" y="1571625"/>
            <a:ext cx="1569660" cy="369332"/>
          </a:xfrm>
          <a:prstGeom prst="rect">
            <a:avLst/>
          </a:prstGeom>
          <a:noFill/>
        </p:spPr>
        <p:txBody>
          <a:bodyPr wrap="none" rtlCol="0">
            <a:spAutoFit/>
          </a:bodyPr>
          <a:lstStyle/>
          <a:p>
            <a:r>
              <a:rPr lang="zh-CN" altLang="en-US" dirty="0"/>
              <a:t>特别地，假设</a:t>
            </a:r>
          </a:p>
        </p:txBody>
      </p:sp>
      <p:pic>
        <p:nvPicPr>
          <p:cNvPr id="5" name="图片 4"/>
          <p:cNvPicPr>
            <a:picLocks noChangeAspect="1"/>
          </p:cNvPicPr>
          <p:nvPr/>
        </p:nvPicPr>
        <p:blipFill>
          <a:blip r:embed="rId3"/>
          <a:stretch>
            <a:fillRect/>
          </a:stretch>
        </p:blipFill>
        <p:spPr>
          <a:xfrm>
            <a:off x="2376487" y="1295400"/>
            <a:ext cx="3319463" cy="915140"/>
          </a:xfrm>
          <a:prstGeom prst="rect">
            <a:avLst/>
          </a:prstGeom>
        </p:spPr>
      </p:pic>
      <p:sp>
        <p:nvSpPr>
          <p:cNvPr id="6" name="文本框 5"/>
          <p:cNvSpPr txBox="1"/>
          <p:nvPr/>
        </p:nvSpPr>
        <p:spPr>
          <a:xfrm>
            <a:off x="5753100" y="1581150"/>
            <a:ext cx="4570482" cy="369332"/>
          </a:xfrm>
          <a:prstGeom prst="rect">
            <a:avLst/>
          </a:prstGeom>
          <a:noFill/>
        </p:spPr>
        <p:txBody>
          <a:bodyPr wrap="none" rtlCol="0">
            <a:spAutoFit/>
          </a:bodyPr>
          <a:lstStyle/>
          <a:p>
            <a:r>
              <a:rPr lang="zh-CN" altLang="en-US" dirty="0"/>
              <a:t>，再用哈德曼算子进行操作并归一化后得到</a:t>
            </a:r>
          </a:p>
        </p:txBody>
      </p:sp>
      <p:pic>
        <p:nvPicPr>
          <p:cNvPr id="7" name="图片 6"/>
          <p:cNvPicPr>
            <a:picLocks noChangeAspect="1"/>
          </p:cNvPicPr>
          <p:nvPr/>
        </p:nvPicPr>
        <p:blipFill>
          <a:blip r:embed="rId4"/>
          <a:stretch>
            <a:fillRect/>
          </a:stretch>
        </p:blipFill>
        <p:spPr>
          <a:xfrm>
            <a:off x="109538" y="2190750"/>
            <a:ext cx="4186238" cy="622379"/>
          </a:xfrm>
          <a:prstGeom prst="rect">
            <a:avLst/>
          </a:prstGeom>
        </p:spPr>
      </p:pic>
      <p:pic>
        <p:nvPicPr>
          <p:cNvPr id="8" name="图片 7"/>
          <p:cNvPicPr>
            <a:picLocks noChangeAspect="1"/>
          </p:cNvPicPr>
          <p:nvPr/>
        </p:nvPicPr>
        <p:blipFill>
          <a:blip r:embed="rId5"/>
          <a:stretch>
            <a:fillRect/>
          </a:stretch>
        </p:blipFill>
        <p:spPr>
          <a:xfrm>
            <a:off x="4524375" y="2176463"/>
            <a:ext cx="4305300" cy="551020"/>
          </a:xfrm>
          <a:prstGeom prst="rect">
            <a:avLst/>
          </a:prstGeom>
        </p:spPr>
      </p:pic>
      <p:sp>
        <p:nvSpPr>
          <p:cNvPr id="9" name="文本框 8"/>
          <p:cNvSpPr txBox="1"/>
          <p:nvPr/>
        </p:nvSpPr>
        <p:spPr>
          <a:xfrm>
            <a:off x="762000" y="2981325"/>
            <a:ext cx="1438275" cy="369332"/>
          </a:xfrm>
          <a:prstGeom prst="rect">
            <a:avLst/>
          </a:prstGeom>
          <a:noFill/>
        </p:spPr>
        <p:txBody>
          <a:bodyPr wrap="square" rtlCol="0">
            <a:spAutoFit/>
          </a:bodyPr>
          <a:lstStyle/>
          <a:p>
            <a:r>
              <a:rPr lang="zh-CN" altLang="en-US" dirty="0"/>
              <a:t>假如</a:t>
            </a:r>
            <a:r>
              <a:rPr lang="el-GR" altLang="zh-CN" dirty="0"/>
              <a:t>ε </a:t>
            </a:r>
            <a:r>
              <a:rPr lang="en-US" altLang="zh-CN" dirty="0"/>
              <a:t>=1/3 </a:t>
            </a:r>
            <a:r>
              <a:rPr lang="zh-CN" altLang="en-US" dirty="0"/>
              <a:t>， </a:t>
            </a:r>
          </a:p>
        </p:txBody>
      </p:sp>
      <p:pic>
        <p:nvPicPr>
          <p:cNvPr id="12" name="图片 11"/>
          <p:cNvPicPr>
            <a:picLocks noChangeAspect="1"/>
          </p:cNvPicPr>
          <p:nvPr/>
        </p:nvPicPr>
        <p:blipFill>
          <a:blip r:embed="rId6"/>
          <a:stretch>
            <a:fillRect/>
          </a:stretch>
        </p:blipFill>
        <p:spPr>
          <a:xfrm>
            <a:off x="2124075" y="2890838"/>
            <a:ext cx="3009900" cy="496708"/>
          </a:xfrm>
          <a:prstGeom prst="rect">
            <a:avLst/>
          </a:prstGeom>
        </p:spPr>
      </p:pic>
      <p:pic>
        <p:nvPicPr>
          <p:cNvPr id="13" name="图片 12"/>
          <p:cNvPicPr>
            <a:picLocks noChangeAspect="1"/>
          </p:cNvPicPr>
          <p:nvPr/>
        </p:nvPicPr>
        <p:blipFill>
          <a:blip r:embed="rId7"/>
          <a:stretch>
            <a:fillRect/>
          </a:stretch>
        </p:blipFill>
        <p:spPr>
          <a:xfrm>
            <a:off x="5386388" y="2895600"/>
            <a:ext cx="3271838" cy="464197"/>
          </a:xfrm>
          <a:prstGeom prst="rect">
            <a:avLst/>
          </a:prstGeom>
        </p:spPr>
      </p:pic>
      <p:sp>
        <p:nvSpPr>
          <p:cNvPr id="15" name="文本框 14"/>
          <p:cNvSpPr txBox="1"/>
          <p:nvPr/>
        </p:nvSpPr>
        <p:spPr>
          <a:xfrm>
            <a:off x="8848725" y="2266950"/>
            <a:ext cx="1338828" cy="369332"/>
          </a:xfrm>
          <a:prstGeom prst="rect">
            <a:avLst/>
          </a:prstGeom>
          <a:noFill/>
        </p:spPr>
        <p:txBody>
          <a:bodyPr wrap="none" rtlCol="0">
            <a:spAutoFit/>
          </a:bodyPr>
          <a:lstStyle/>
          <a:p>
            <a:r>
              <a:rPr lang="zh-CN" altLang="en-US" dirty="0"/>
              <a:t>而不是状态</a:t>
            </a:r>
          </a:p>
        </p:txBody>
      </p:sp>
      <p:grpSp>
        <p:nvGrpSpPr>
          <p:cNvPr id="16" name="组合 15"/>
          <p:cNvGrpSpPr/>
          <p:nvPr/>
        </p:nvGrpSpPr>
        <p:grpSpPr>
          <a:xfrm>
            <a:off x="10120313" y="2190750"/>
            <a:ext cx="1652587" cy="504824"/>
            <a:chOff x="9910763" y="2190750"/>
            <a:chExt cx="1652587" cy="504824"/>
          </a:xfrm>
        </p:grpSpPr>
        <p:pic>
          <p:nvPicPr>
            <p:cNvPr id="19" name="图片 18"/>
            <p:cNvPicPr>
              <a:picLocks noChangeAspect="1"/>
            </p:cNvPicPr>
            <p:nvPr/>
          </p:nvPicPr>
          <p:blipFill rotWithShape="1">
            <a:blip r:embed="rId8"/>
            <a:srcRect r="86979" b="-2946"/>
            <a:stretch/>
          </p:blipFill>
          <p:spPr>
            <a:xfrm>
              <a:off x="9910763" y="2190750"/>
              <a:ext cx="490537" cy="485775"/>
            </a:xfrm>
            <a:prstGeom prst="rect">
              <a:avLst/>
            </a:prstGeom>
          </p:spPr>
        </p:pic>
        <p:pic>
          <p:nvPicPr>
            <p:cNvPr id="23" name="图片 22"/>
            <p:cNvPicPr>
              <a:picLocks noChangeAspect="1"/>
            </p:cNvPicPr>
            <p:nvPr/>
          </p:nvPicPr>
          <p:blipFill rotWithShape="1">
            <a:blip r:embed="rId8"/>
            <a:srcRect l="43616" t="10094" r="28318" b="-4964"/>
            <a:stretch/>
          </p:blipFill>
          <p:spPr>
            <a:xfrm>
              <a:off x="10506075" y="2247899"/>
              <a:ext cx="1057275" cy="447675"/>
            </a:xfrm>
            <a:prstGeom prst="rect">
              <a:avLst/>
            </a:prstGeom>
          </p:spPr>
        </p:pic>
      </p:grpSp>
      <p:sp>
        <p:nvSpPr>
          <p:cNvPr id="17" name="文本框 16"/>
          <p:cNvSpPr txBox="1"/>
          <p:nvPr/>
        </p:nvSpPr>
        <p:spPr>
          <a:xfrm>
            <a:off x="752475" y="3562350"/>
            <a:ext cx="1800493" cy="369332"/>
          </a:xfrm>
          <a:prstGeom prst="rect">
            <a:avLst/>
          </a:prstGeom>
          <a:noFill/>
        </p:spPr>
        <p:txBody>
          <a:bodyPr wrap="none" rtlCol="0">
            <a:spAutoFit/>
          </a:bodyPr>
          <a:lstStyle/>
          <a:p>
            <a:r>
              <a:rPr lang="zh-CN" altLang="en-US" dirty="0"/>
              <a:t>状态转移概率为</a:t>
            </a:r>
          </a:p>
        </p:txBody>
      </p:sp>
      <p:pic>
        <p:nvPicPr>
          <p:cNvPr id="18" name="图片 17"/>
          <p:cNvPicPr>
            <a:picLocks noChangeAspect="1"/>
          </p:cNvPicPr>
          <p:nvPr/>
        </p:nvPicPr>
        <p:blipFill>
          <a:blip r:embed="rId9"/>
          <a:stretch>
            <a:fillRect/>
          </a:stretch>
        </p:blipFill>
        <p:spPr>
          <a:xfrm>
            <a:off x="2528888" y="3562350"/>
            <a:ext cx="3252788" cy="369452"/>
          </a:xfrm>
          <a:prstGeom prst="rect">
            <a:avLst/>
          </a:prstGeom>
        </p:spPr>
      </p:pic>
      <p:pic>
        <p:nvPicPr>
          <p:cNvPr id="24" name="图片 23"/>
          <p:cNvPicPr>
            <a:picLocks noChangeAspect="1"/>
          </p:cNvPicPr>
          <p:nvPr/>
        </p:nvPicPr>
        <p:blipFill>
          <a:blip r:embed="rId10"/>
          <a:stretch>
            <a:fillRect/>
          </a:stretch>
        </p:blipFill>
        <p:spPr>
          <a:xfrm>
            <a:off x="5915025" y="3514725"/>
            <a:ext cx="3543300" cy="418912"/>
          </a:xfrm>
          <a:prstGeom prst="rect">
            <a:avLst/>
          </a:prstGeom>
        </p:spPr>
      </p:pic>
    </p:spTree>
    <p:extLst>
      <p:ext uri="{BB962C8B-B14F-4D97-AF65-F5344CB8AC3E}">
        <p14:creationId xmlns:p14="http://schemas.microsoft.com/office/powerpoint/2010/main" val="234174855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i$ḷíḑê"/>
        <p:cNvGrpSpPr/>
        <p:nvPr/>
      </p:nvGrpSpPr>
      <p:grpSpPr>
        <a:xfrm>
          <a:off x="0" y="0"/>
          <a:ext cx="0" cy="0"/>
          <a:chOff x="0" y="0"/>
          <a:chExt cx="0" cy="0"/>
        </a:xfrm>
      </p:grpSpPr>
      <p:sp>
        <p:nvSpPr>
          <p:cNvPr id="5" name="íšľîḑê"/>
          <p:cNvSpPr>
            <a:spLocks noGrp="1"/>
          </p:cNvSpPr>
          <p:nvPr>
            <p:ph type="title"/>
          </p:nvPr>
        </p:nvSpPr>
        <p:spPr>
          <a:xfrm>
            <a:off x="4751615" y="3380413"/>
            <a:ext cx="5419185" cy="895350"/>
          </a:xfrm>
        </p:spPr>
        <p:txBody>
          <a:bodyPr/>
          <a:lstStyle/>
          <a:p>
            <a:r>
              <a:rPr lang="zh-CN" altLang="en-US" dirty="0"/>
              <a:t>量子因子图</a:t>
            </a:r>
          </a:p>
        </p:txBody>
      </p:sp>
      <p:sp>
        <p:nvSpPr>
          <p:cNvPr id="9" name="iṧḻiḑe">
            <a:extLst>
              <a:ext uri="{FF2B5EF4-FFF2-40B4-BE49-F238E27FC236}">
                <a16:creationId xmlns:a16="http://schemas.microsoft.com/office/drawing/2014/main" id="{04F69230-F3A6-4586-9371-A858F4763E9F}"/>
              </a:ext>
            </a:extLst>
          </p:cNvPr>
          <p:cNvSpPr txBox="1"/>
          <p:nvPr/>
        </p:nvSpPr>
        <p:spPr>
          <a:xfrm>
            <a:off x="4751615" y="1566614"/>
            <a:ext cx="2141996" cy="1862386"/>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a:t>
            </a:r>
            <a:r>
              <a:rPr lang="en-US" altLang="zh-CN" sz="100" spc="100" dirty="0">
                <a:solidFill>
                  <a:schemeClr val="accent1"/>
                </a:solidFill>
                <a:latin typeface="Impact" panose="020B0806030902050204" pitchFamily="34" charset="0"/>
                <a:cs typeface="Arial" panose="020B0604020202020204" pitchFamily="34" charset="0"/>
              </a:rPr>
              <a:t> </a:t>
            </a:r>
            <a:r>
              <a:rPr lang="en-US" altLang="zh-CN" spc="100" dirty="0">
                <a:solidFill>
                  <a:schemeClr val="accent1"/>
                </a:solidFill>
                <a:latin typeface="Impact" panose="020B0806030902050204" pitchFamily="34" charset="0"/>
                <a:cs typeface="Arial" panose="020B0604020202020204" pitchFamily="34" charset="0"/>
              </a:rPr>
              <a:t>07</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04619399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量子因子图简介</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6</a:t>
            </a:fld>
            <a:endParaRPr lang="zh-CN" altLang="en-US"/>
          </a:p>
        </p:txBody>
      </p:sp>
      <p:sp>
        <p:nvSpPr>
          <p:cNvPr id="3" name="文本框 2"/>
          <p:cNvSpPr txBox="1"/>
          <p:nvPr/>
        </p:nvSpPr>
        <p:spPr>
          <a:xfrm>
            <a:off x="659876" y="1329179"/>
            <a:ext cx="5352747" cy="369332"/>
          </a:xfrm>
          <a:prstGeom prst="rect">
            <a:avLst/>
          </a:prstGeom>
          <a:noFill/>
        </p:spPr>
        <p:txBody>
          <a:bodyPr wrap="none" rtlCol="0">
            <a:spAutoFit/>
          </a:bodyPr>
          <a:lstStyle/>
          <a:p>
            <a:r>
              <a:rPr lang="zh-CN" altLang="en-US" dirty="0"/>
              <a:t>量子资源可以实现经典信息的最大似然（</a:t>
            </a:r>
            <a:r>
              <a:rPr lang="en-US" altLang="zh-CN" dirty="0"/>
              <a:t>ML</a:t>
            </a:r>
            <a:r>
              <a:rPr lang="zh-CN" altLang="en-US" dirty="0"/>
              <a:t>）解码</a:t>
            </a:r>
          </a:p>
        </p:txBody>
      </p:sp>
      <p:sp>
        <p:nvSpPr>
          <p:cNvPr id="5" name="文本框 4"/>
          <p:cNvSpPr txBox="1"/>
          <p:nvPr/>
        </p:nvSpPr>
        <p:spPr>
          <a:xfrm>
            <a:off x="622169" y="1885360"/>
            <a:ext cx="9862508" cy="1200329"/>
          </a:xfrm>
          <a:prstGeom prst="rect">
            <a:avLst/>
          </a:prstGeom>
          <a:noFill/>
        </p:spPr>
        <p:txBody>
          <a:bodyPr wrap="none" rtlCol="0">
            <a:spAutoFit/>
          </a:bodyPr>
          <a:lstStyle/>
          <a:p>
            <a:r>
              <a:rPr lang="zh-CN" altLang="en-US" dirty="0"/>
              <a:t>量子粒子的自然希尔伯特空间编码了一个概率向量，量子粒子的联合态实现了与和积算法</a:t>
            </a:r>
            <a:r>
              <a:rPr lang="en-US" altLang="zh-CN" dirty="0"/>
              <a:t>SPA</a:t>
            </a:r>
            <a:r>
              <a:rPr lang="zh-CN" altLang="en-US" dirty="0"/>
              <a:t>相</a:t>
            </a:r>
            <a:endParaRPr lang="en-US" altLang="zh-CN" dirty="0"/>
          </a:p>
          <a:p>
            <a:r>
              <a:rPr lang="zh-CN" altLang="en-US" dirty="0"/>
              <a:t>关的“积”。由于量子比特自然地编码了总的联合概率状态，因此省略了</a:t>
            </a:r>
            <a:r>
              <a:rPr lang="en-US" altLang="zh-CN" dirty="0"/>
              <a:t>SPA</a:t>
            </a:r>
            <a:r>
              <a:rPr lang="zh-CN" altLang="en-US" dirty="0"/>
              <a:t>的“和”</a:t>
            </a:r>
            <a:endParaRPr lang="en-US" altLang="zh-CN" dirty="0"/>
          </a:p>
          <a:p>
            <a:endParaRPr lang="en-US" altLang="zh-CN" dirty="0"/>
          </a:p>
          <a:p>
            <a:r>
              <a:rPr lang="zh-CN" altLang="en-US" dirty="0"/>
              <a:t>因子图定义了量子比特之间的依赖（纠缠），图函数节点由酉矩阵定义</a:t>
            </a:r>
          </a:p>
        </p:txBody>
      </p:sp>
      <p:sp>
        <p:nvSpPr>
          <p:cNvPr id="6" name="文本框 5"/>
          <p:cNvSpPr txBox="1"/>
          <p:nvPr/>
        </p:nvSpPr>
        <p:spPr>
          <a:xfrm>
            <a:off x="725864" y="3440784"/>
            <a:ext cx="3535051" cy="2862322"/>
          </a:xfrm>
          <a:prstGeom prst="rect">
            <a:avLst/>
          </a:prstGeom>
          <a:noFill/>
        </p:spPr>
        <p:txBody>
          <a:bodyPr wrap="square" rtlCol="0">
            <a:spAutoFit/>
          </a:bodyPr>
          <a:lstStyle/>
          <a:p>
            <a:r>
              <a:rPr lang="zh-CN" altLang="en-US" b="1" dirty="0"/>
              <a:t>优点：</a:t>
            </a:r>
            <a:endParaRPr lang="en-US" altLang="zh-CN" b="1" dirty="0"/>
          </a:p>
          <a:p>
            <a:endParaRPr lang="en-US" altLang="zh-CN" dirty="0"/>
          </a:p>
          <a:p>
            <a:r>
              <a:rPr lang="zh-CN" altLang="en-US" dirty="0"/>
              <a:t>①由于量子因子图</a:t>
            </a:r>
            <a:r>
              <a:rPr lang="en-US" altLang="zh-CN" dirty="0"/>
              <a:t>QPA</a:t>
            </a:r>
            <a:r>
              <a:rPr lang="zh-CN" altLang="en-US" dirty="0"/>
              <a:t>避免了“和”所以也阻止了</a:t>
            </a:r>
            <a:r>
              <a:rPr lang="en-US" altLang="zh-CN" dirty="0"/>
              <a:t>SPA</a:t>
            </a:r>
            <a:r>
              <a:rPr lang="zh-CN" altLang="en-US" dirty="0"/>
              <a:t>在短周期图上产生的问题；</a:t>
            </a:r>
            <a:endParaRPr lang="en-US" altLang="zh-CN" dirty="0"/>
          </a:p>
          <a:p>
            <a:endParaRPr lang="en-US" altLang="zh-CN" dirty="0"/>
          </a:p>
          <a:p>
            <a:r>
              <a:rPr lang="zh-CN" altLang="en-US" dirty="0"/>
              <a:t>②</a:t>
            </a:r>
            <a:r>
              <a:rPr lang="en-US" altLang="zh-CN" dirty="0"/>
              <a:t>SPA</a:t>
            </a:r>
            <a:r>
              <a:rPr lang="zh-CN" altLang="en-US" dirty="0"/>
              <a:t>是迭代的，使用消息传递并多次激活每个节点；</a:t>
            </a:r>
            <a:r>
              <a:rPr lang="en-US" altLang="zh-CN" dirty="0"/>
              <a:t>QPA</a:t>
            </a:r>
            <a:r>
              <a:rPr lang="zh-CN" altLang="en-US" dirty="0"/>
              <a:t>不进行迭代，仅成功激活每个节点一次。</a:t>
            </a:r>
          </a:p>
        </p:txBody>
      </p:sp>
      <p:sp>
        <p:nvSpPr>
          <p:cNvPr id="8" name="文本框 7"/>
          <p:cNvSpPr txBox="1"/>
          <p:nvPr/>
        </p:nvSpPr>
        <p:spPr>
          <a:xfrm>
            <a:off x="5495827" y="3440784"/>
            <a:ext cx="5580668" cy="3416320"/>
          </a:xfrm>
          <a:prstGeom prst="rect">
            <a:avLst/>
          </a:prstGeom>
          <a:noFill/>
        </p:spPr>
        <p:txBody>
          <a:bodyPr wrap="square" rtlCol="0">
            <a:spAutoFit/>
          </a:bodyPr>
          <a:lstStyle/>
          <a:p>
            <a:r>
              <a:rPr lang="zh-CN" altLang="en-US" b="1" dirty="0"/>
              <a:t>缺点：</a:t>
            </a:r>
            <a:endParaRPr lang="en-US" altLang="zh-CN" b="1" dirty="0"/>
          </a:p>
          <a:p>
            <a:endParaRPr lang="en-US" altLang="zh-CN" dirty="0"/>
          </a:p>
          <a:p>
            <a:r>
              <a:rPr lang="zh-CN" altLang="en-US" dirty="0"/>
              <a:t>①每个函数节点必须被反复激活，直到它成功地“准备”本地变量节点</a:t>
            </a:r>
            <a:r>
              <a:rPr lang="en-US" altLang="zh-CN" dirty="0"/>
              <a:t>(</a:t>
            </a:r>
            <a:r>
              <a:rPr lang="zh-CN" altLang="en-US" dirty="0"/>
              <a:t>量子比特</a:t>
            </a:r>
            <a:r>
              <a:rPr lang="en-US" altLang="zh-CN" dirty="0"/>
              <a:t>)</a:t>
            </a:r>
            <a:r>
              <a:rPr lang="zh-CN" altLang="en-US" dirty="0"/>
              <a:t>进入正确的纠缠态</a:t>
            </a:r>
            <a:r>
              <a:rPr lang="en-US" altLang="zh-CN" dirty="0"/>
              <a:t>——</a:t>
            </a:r>
            <a:r>
              <a:rPr lang="zh-CN" altLang="en-US" dirty="0"/>
              <a:t>任何激活失败都会破坏所有已经与本地变量纠缠的变量节点的进化；</a:t>
            </a:r>
            <a:endParaRPr lang="en-US" altLang="zh-CN" dirty="0"/>
          </a:p>
          <a:p>
            <a:endParaRPr lang="en-US" altLang="zh-CN" dirty="0"/>
          </a:p>
          <a:p>
            <a:r>
              <a:rPr lang="zh-CN" altLang="en-US" dirty="0"/>
              <a:t>②一旦一个完整的因子图成功地演化出来，最终的量子测量只能以一定的</a:t>
            </a:r>
            <a:r>
              <a:rPr lang="en-US" altLang="zh-CN" dirty="0"/>
              <a:t>(</a:t>
            </a:r>
            <a:r>
              <a:rPr lang="zh-CN" altLang="en-US" dirty="0"/>
              <a:t>最大的</a:t>
            </a:r>
            <a:r>
              <a:rPr lang="en-US" altLang="zh-CN" dirty="0"/>
              <a:t>)</a:t>
            </a:r>
            <a:r>
              <a:rPr lang="zh-CN" altLang="en-US" dirty="0"/>
              <a:t>概率提供</a:t>
            </a:r>
            <a:r>
              <a:rPr lang="en-US" altLang="zh-CN" dirty="0"/>
              <a:t>ML</a:t>
            </a:r>
            <a:r>
              <a:rPr lang="zh-CN" altLang="en-US" dirty="0"/>
              <a:t>码字。重复的成功进化然后确定任意程度的置信</a:t>
            </a:r>
            <a:r>
              <a:rPr lang="en-US" altLang="zh-CN" dirty="0"/>
              <a:t>ML</a:t>
            </a:r>
            <a:r>
              <a:rPr lang="zh-CN" altLang="en-US" dirty="0"/>
              <a:t>码字。第二个缺点可以通过在测量之前</a:t>
            </a:r>
            <a:r>
              <a:rPr lang="en-US" altLang="zh-CN" dirty="0"/>
              <a:t>QPA</a:t>
            </a:r>
            <a:r>
              <a:rPr lang="zh-CN" altLang="en-US" dirty="0"/>
              <a:t>输出进行适当的“</a:t>
            </a:r>
            <a:r>
              <a:rPr lang="en-US" altLang="zh-CN" dirty="0"/>
              <a:t>ML</a:t>
            </a:r>
            <a:r>
              <a:rPr lang="zh-CN" altLang="en-US" dirty="0"/>
              <a:t>放大”来解决</a:t>
            </a:r>
          </a:p>
        </p:txBody>
      </p:sp>
    </p:spTree>
    <p:extLst>
      <p:ext uri="{BB962C8B-B14F-4D97-AF65-F5344CB8AC3E}">
        <p14:creationId xmlns:p14="http://schemas.microsoft.com/office/powerpoint/2010/main" val="195084159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îŝḷïḑe"/>
        <p:cNvGrpSpPr/>
        <p:nvPr/>
      </p:nvGrpSpPr>
      <p:grpSpPr>
        <a:xfrm>
          <a:off x="0" y="0"/>
          <a:ext cx="0" cy="0"/>
          <a:chOff x="0" y="0"/>
          <a:chExt cx="0" cy="0"/>
        </a:xfrm>
      </p:grpSpPr>
      <p:graphicFrame>
        <p:nvGraphicFramePr>
          <p:cNvPr id="3" name="ï$ļîḑè" hidden="1">
            <a:extLst>
              <a:ext uri="{FF2B5EF4-FFF2-40B4-BE49-F238E27FC236}">
                <a16:creationId xmlns:a16="http://schemas.microsoft.com/office/drawing/2014/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ï$ļîḑè" hidden="1">
                        <a:extLst>
                          <a:ext uri="{FF2B5EF4-FFF2-40B4-BE49-F238E27FC236}">
                            <a16:creationId xmlns:a16="http://schemas.microsoft.com/office/drawing/2014/main"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íSľidé" hidden="1">
            <a:extLst>
              <a:ext uri="{FF2B5EF4-FFF2-40B4-BE49-F238E27FC236}">
                <a16:creationId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îsḷîde"/>
          <p:cNvSpPr>
            <a:spLocks noGrp="1"/>
          </p:cNvSpPr>
          <p:nvPr>
            <p:ph type="ctrTitle"/>
          </p:nvPr>
        </p:nvSpPr>
        <p:spPr/>
        <p:txBody>
          <a:bodyPr>
            <a:normAutofit/>
          </a:bodyPr>
          <a:lstStyle/>
          <a:p>
            <a:r>
              <a:rPr lang="en-US" altLang="zh-CN" sz="9800" dirty="0"/>
              <a:t>THANK</a:t>
            </a:r>
            <a:r>
              <a:rPr lang="en-US" altLang="zh-CN" sz="100" dirty="0"/>
              <a:t> </a:t>
            </a:r>
            <a:r>
              <a:rPr lang="en-US" altLang="zh-CN" sz="9800" dirty="0"/>
              <a:t>S</a:t>
            </a:r>
            <a:endParaRPr lang="zh-CN" altLang="en-US" dirty="0"/>
          </a:p>
        </p:txBody>
      </p:sp>
      <p:sp>
        <p:nvSpPr>
          <p:cNvPr id="6" name="îŝ1íḋè"/>
          <p:cNvSpPr>
            <a:spLocks noGrp="1"/>
          </p:cNvSpPr>
          <p:nvPr>
            <p:ph type="body" sz="quarter" idx="10"/>
          </p:nvPr>
        </p:nvSpPr>
        <p:spPr/>
        <p:txBody>
          <a:bodyPr/>
          <a:lstStyle/>
          <a:p>
            <a:r>
              <a:rPr lang="en-US" altLang="zh-CN" dirty="0"/>
              <a:t>USTB_WJW</a:t>
            </a:r>
          </a:p>
        </p:txBody>
      </p:sp>
    </p:spTree>
    <p:custDataLst>
      <p:tags r:id="rId2"/>
    </p:custDataLst>
    <p:extLst>
      <p:ext uri="{BB962C8B-B14F-4D97-AF65-F5344CB8AC3E}">
        <p14:creationId xmlns:p14="http://schemas.microsoft.com/office/powerpoint/2010/main" val="12590430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2" name="íṣľiḑe">
            <a:extLst>
              <a:ext uri="{FF2B5EF4-FFF2-40B4-BE49-F238E27FC236}">
                <a16:creationId xmlns:a16="http://schemas.microsoft.com/office/drawing/2014/main" id="{8AC4395B-A0A0-4D81-B628-E4F9AB374736}"/>
              </a:ext>
            </a:extLst>
          </p:cNvPr>
          <p:cNvSpPr>
            <a:spLocks noGrp="1"/>
          </p:cNvSpPr>
          <p:nvPr>
            <p:ph type="title"/>
          </p:nvPr>
        </p:nvSpPr>
        <p:spPr/>
        <p:txBody>
          <a:bodyPr/>
          <a:lstStyle/>
          <a:p>
            <a:r>
              <a:rPr lang="zh-CN" altLang="en-US" dirty="0"/>
              <a:t>应用</a:t>
            </a:r>
          </a:p>
        </p:txBody>
      </p:sp>
      <p:sp>
        <p:nvSpPr>
          <p:cNvPr id="4" name="ïṩḷidê">
            <a:extLst>
              <a:ext uri="{FF2B5EF4-FFF2-40B4-BE49-F238E27FC236}">
                <a16:creationId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5</a:t>
            </a:fld>
            <a:endParaRPr lang="zh-CN" altLang="en-US"/>
          </a:p>
        </p:txBody>
      </p:sp>
      <p:sp>
        <p:nvSpPr>
          <p:cNvPr id="6" name="圆角矩形 5"/>
          <p:cNvSpPr/>
          <p:nvPr/>
        </p:nvSpPr>
        <p:spPr>
          <a:xfrm>
            <a:off x="83484" y="3338424"/>
            <a:ext cx="1597795" cy="453479"/>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dirty="0"/>
              <a:t>量子计算机</a:t>
            </a:r>
          </a:p>
        </p:txBody>
      </p:sp>
      <p:sp>
        <p:nvSpPr>
          <p:cNvPr id="10" name="圆角矩形 9"/>
          <p:cNvSpPr/>
          <p:nvPr/>
        </p:nvSpPr>
        <p:spPr>
          <a:xfrm>
            <a:off x="2375294" y="1517598"/>
            <a:ext cx="1470943" cy="375260"/>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dirty="0"/>
              <a:t>量子模拟</a:t>
            </a:r>
          </a:p>
        </p:txBody>
      </p:sp>
      <p:sp>
        <p:nvSpPr>
          <p:cNvPr id="12" name="圆角矩形 11"/>
          <p:cNvSpPr/>
          <p:nvPr/>
        </p:nvSpPr>
        <p:spPr>
          <a:xfrm>
            <a:off x="2386425" y="2447566"/>
            <a:ext cx="1470943" cy="375260"/>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dirty="0"/>
              <a:t>加密</a:t>
            </a:r>
          </a:p>
        </p:txBody>
      </p:sp>
      <p:sp>
        <p:nvSpPr>
          <p:cNvPr id="13" name="圆角矩形 12"/>
          <p:cNvSpPr/>
          <p:nvPr/>
        </p:nvSpPr>
        <p:spPr>
          <a:xfrm>
            <a:off x="2386425" y="3377534"/>
            <a:ext cx="1470943" cy="375260"/>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dirty="0"/>
              <a:t>搜索</a:t>
            </a:r>
          </a:p>
        </p:txBody>
      </p:sp>
      <p:sp>
        <p:nvSpPr>
          <p:cNvPr id="14" name="圆角矩形 13"/>
          <p:cNvSpPr/>
          <p:nvPr/>
        </p:nvSpPr>
        <p:spPr>
          <a:xfrm>
            <a:off x="2375293" y="4307502"/>
            <a:ext cx="1470943" cy="375260"/>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dirty="0"/>
              <a:t>优化</a:t>
            </a:r>
          </a:p>
        </p:txBody>
      </p:sp>
      <p:sp>
        <p:nvSpPr>
          <p:cNvPr id="16" name="圆角矩形 15"/>
          <p:cNvSpPr/>
          <p:nvPr/>
        </p:nvSpPr>
        <p:spPr>
          <a:xfrm>
            <a:off x="2386425" y="5327174"/>
            <a:ext cx="1470943" cy="375260"/>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dirty="0"/>
              <a:t>机器学习</a:t>
            </a:r>
          </a:p>
        </p:txBody>
      </p:sp>
      <p:sp>
        <p:nvSpPr>
          <p:cNvPr id="17" name="矩形 16"/>
          <p:cNvSpPr/>
          <p:nvPr/>
        </p:nvSpPr>
        <p:spPr>
          <a:xfrm>
            <a:off x="3973089" y="1243563"/>
            <a:ext cx="7911966" cy="923330"/>
          </a:xfrm>
          <a:prstGeom prst="rect">
            <a:avLst/>
          </a:prstGeom>
          <a:solidFill>
            <a:schemeClr val="accent4">
              <a:lumMod val="20000"/>
              <a:lumOff val="80000"/>
            </a:schemeClr>
          </a:solidFill>
        </p:spPr>
        <p:txBody>
          <a:bodyPr wrap="square">
            <a:spAutoFit/>
          </a:bodyPr>
          <a:lstStyle/>
          <a:p>
            <a:r>
              <a:rPr lang="zh-CN" altLang="en-US" dirty="0">
                <a:solidFill>
                  <a:srgbClr val="171717"/>
                </a:solidFill>
                <a:latin typeface="Segoe UI" panose="020B0502040204020203" pitchFamily="34" charset="0"/>
              </a:rPr>
              <a:t>由于量子计算机在计算中使用量子现象，因此非常适合用于对其他量子系统进行建模。 光合作用、超导性和复杂的分子形成都是量子程序可以模拟的量子机制的例子</a:t>
            </a:r>
            <a:endParaRPr lang="zh-CN" altLang="en-US" dirty="0"/>
          </a:p>
        </p:txBody>
      </p:sp>
      <p:sp>
        <p:nvSpPr>
          <p:cNvPr id="18" name="矩形 17"/>
          <p:cNvSpPr/>
          <p:nvPr/>
        </p:nvSpPr>
        <p:spPr>
          <a:xfrm>
            <a:off x="3984219" y="2222661"/>
            <a:ext cx="7900835" cy="923330"/>
          </a:xfrm>
          <a:prstGeom prst="rect">
            <a:avLst/>
          </a:prstGeom>
          <a:solidFill>
            <a:schemeClr val="accent3">
              <a:lumMod val="40000"/>
              <a:lumOff val="60000"/>
            </a:schemeClr>
          </a:solidFill>
        </p:spPr>
        <p:txBody>
          <a:bodyPr wrap="square">
            <a:spAutoFit/>
          </a:bodyPr>
          <a:lstStyle/>
          <a:p>
            <a:r>
              <a:rPr lang="en-US" altLang="zh-CN" dirty="0">
                <a:solidFill>
                  <a:srgbClr val="171717"/>
                </a:solidFill>
                <a:latin typeface="Segoe UI" panose="020B0502040204020203" pitchFamily="34" charset="0"/>
              </a:rPr>
              <a:t>1994 </a:t>
            </a:r>
            <a:r>
              <a:rPr lang="zh-CN" altLang="en-US" dirty="0">
                <a:solidFill>
                  <a:srgbClr val="171717"/>
                </a:solidFill>
                <a:latin typeface="Segoe UI" panose="020B0502040204020203" pitchFamily="34" charset="0"/>
              </a:rPr>
              <a:t>年，彼得</a:t>
            </a:r>
            <a:r>
              <a:rPr lang="en-US" altLang="zh-CN" dirty="0">
                <a:solidFill>
                  <a:srgbClr val="171717"/>
                </a:solidFill>
                <a:latin typeface="Segoe UI" panose="020B0502040204020203" pitchFamily="34" charset="0"/>
              </a:rPr>
              <a:t>·</a:t>
            </a:r>
            <a:r>
              <a:rPr lang="zh-CN" altLang="en-US" dirty="0">
                <a:solidFill>
                  <a:srgbClr val="171717"/>
                </a:solidFill>
                <a:latin typeface="Segoe UI" panose="020B0502040204020203" pitchFamily="34" charset="0"/>
              </a:rPr>
              <a:t>秀尔展示了一种可缩放的量子计算机，该计算机可以破解广泛使用的加密技术，例如 </a:t>
            </a:r>
            <a:r>
              <a:rPr lang="en-US" altLang="zh-CN" dirty="0">
                <a:solidFill>
                  <a:srgbClr val="171717"/>
                </a:solidFill>
                <a:latin typeface="Segoe UI" panose="020B0502040204020203" pitchFamily="34" charset="0"/>
              </a:rPr>
              <a:t>RSA </a:t>
            </a:r>
            <a:r>
              <a:rPr lang="zh-CN" altLang="en-US" dirty="0">
                <a:solidFill>
                  <a:srgbClr val="171717"/>
                </a:solidFill>
                <a:latin typeface="Segoe UI" panose="020B0502040204020203" pitchFamily="34" charset="0"/>
              </a:rPr>
              <a:t>算法。 经典密码学依赖于整数分解或离散对数等问题的难处理性，其中许多问题都可以使用量子计算机更有效地得以解决</a:t>
            </a:r>
            <a:endParaRPr lang="zh-CN" altLang="en-US" dirty="0"/>
          </a:p>
        </p:txBody>
      </p:sp>
      <p:sp>
        <p:nvSpPr>
          <p:cNvPr id="19" name="矩形 18"/>
          <p:cNvSpPr/>
          <p:nvPr/>
        </p:nvSpPr>
        <p:spPr>
          <a:xfrm>
            <a:off x="3984219" y="3241997"/>
            <a:ext cx="7900835" cy="646331"/>
          </a:xfrm>
          <a:prstGeom prst="rect">
            <a:avLst/>
          </a:prstGeom>
          <a:solidFill>
            <a:schemeClr val="accent4">
              <a:lumMod val="20000"/>
              <a:lumOff val="80000"/>
            </a:schemeClr>
          </a:solidFill>
        </p:spPr>
        <p:txBody>
          <a:bodyPr wrap="square">
            <a:spAutoFit/>
          </a:bodyPr>
          <a:lstStyle/>
          <a:p>
            <a:r>
              <a:rPr lang="en-US" altLang="zh-CN" dirty="0">
                <a:solidFill>
                  <a:srgbClr val="171717"/>
                </a:solidFill>
                <a:latin typeface="Segoe UI" panose="020B0502040204020203" pitchFamily="34" charset="0"/>
              </a:rPr>
              <a:t>1996 </a:t>
            </a:r>
            <a:r>
              <a:rPr lang="zh-CN" altLang="en-US" dirty="0">
                <a:solidFill>
                  <a:srgbClr val="171717"/>
                </a:solidFill>
                <a:latin typeface="Segoe UI" panose="020B0502040204020203" pitchFamily="34" charset="0"/>
              </a:rPr>
              <a:t>年，</a:t>
            </a:r>
            <a:r>
              <a:rPr lang="en-US" altLang="zh-CN" dirty="0" err="1">
                <a:solidFill>
                  <a:srgbClr val="171717"/>
                </a:solidFill>
                <a:latin typeface="Segoe UI" panose="020B0502040204020203" pitchFamily="34" charset="0"/>
              </a:rPr>
              <a:t>Lov</a:t>
            </a:r>
            <a:r>
              <a:rPr lang="en-US" altLang="zh-CN" dirty="0">
                <a:solidFill>
                  <a:srgbClr val="171717"/>
                </a:solidFill>
                <a:latin typeface="Segoe UI" panose="020B0502040204020203" pitchFamily="34" charset="0"/>
              </a:rPr>
              <a:t> Grover </a:t>
            </a:r>
            <a:r>
              <a:rPr lang="zh-CN" altLang="en-US" dirty="0">
                <a:solidFill>
                  <a:srgbClr val="171717"/>
                </a:solidFill>
                <a:latin typeface="Segoe UI" panose="020B0502040204020203" pitchFamily="34" charset="0"/>
              </a:rPr>
              <a:t>开发了一种量子算法，该算法极大地加速了对非结构化数据搜索的解决方案，与传统算法相比，其搜索步骤更少</a:t>
            </a:r>
            <a:endParaRPr lang="zh-CN" altLang="en-US" dirty="0"/>
          </a:p>
        </p:txBody>
      </p:sp>
      <p:sp>
        <p:nvSpPr>
          <p:cNvPr id="20" name="矩形 19"/>
          <p:cNvSpPr/>
          <p:nvPr/>
        </p:nvSpPr>
        <p:spPr>
          <a:xfrm>
            <a:off x="3973088" y="3894967"/>
            <a:ext cx="7975334" cy="1200329"/>
          </a:xfrm>
          <a:prstGeom prst="rect">
            <a:avLst/>
          </a:prstGeom>
          <a:solidFill>
            <a:schemeClr val="accent3">
              <a:lumMod val="40000"/>
              <a:lumOff val="60000"/>
            </a:schemeClr>
          </a:solidFill>
        </p:spPr>
        <p:txBody>
          <a:bodyPr wrap="square">
            <a:spAutoFit/>
          </a:bodyPr>
          <a:lstStyle/>
          <a:p>
            <a:r>
              <a:rPr lang="zh-CN" altLang="en-US" dirty="0">
                <a:solidFill>
                  <a:srgbClr val="171717"/>
                </a:solidFill>
                <a:latin typeface="Segoe UI" panose="020B0502040204020203" pitchFamily="34" charset="0"/>
              </a:rPr>
              <a:t>受量子启发的算法使用量子原理来提高速度和准确性，但可在经典计算机系统上实现。</a:t>
            </a:r>
            <a:r>
              <a:rPr lang="zh-CN" altLang="en-US" dirty="0"/>
              <a:t> 除了优化交通流量以减少拥堵外，还提供飞机登机门分配、包裹递送、作业计划等。 随着材料科学的突破，将出现新型能源、更大容量的电池以及更轻便且更耐用的材料</a:t>
            </a:r>
          </a:p>
        </p:txBody>
      </p:sp>
      <p:sp>
        <p:nvSpPr>
          <p:cNvPr id="21" name="矩形 20"/>
          <p:cNvSpPr/>
          <p:nvPr/>
        </p:nvSpPr>
        <p:spPr>
          <a:xfrm>
            <a:off x="3973088" y="5102269"/>
            <a:ext cx="8013638" cy="923330"/>
          </a:xfrm>
          <a:prstGeom prst="rect">
            <a:avLst/>
          </a:prstGeom>
          <a:solidFill>
            <a:schemeClr val="accent4">
              <a:lumMod val="20000"/>
              <a:lumOff val="80000"/>
            </a:schemeClr>
          </a:solidFill>
        </p:spPr>
        <p:txBody>
          <a:bodyPr wrap="square">
            <a:spAutoFit/>
          </a:bodyPr>
          <a:lstStyle/>
          <a:p>
            <a:r>
              <a:rPr lang="zh-CN" altLang="en-US" dirty="0">
                <a:solidFill>
                  <a:srgbClr val="171717"/>
                </a:solidFill>
                <a:latin typeface="Segoe UI" panose="020B0502040204020203" pitchFamily="34" charset="0"/>
              </a:rPr>
              <a:t>经典计算机上的机器学习正在彻底改变科学和商业领域。 然而，训练模型带来的高计算成本阻碍了该领域的发展和范围。 量子机器学习领域探讨了如何设计和实现可使机器学习比传统计算机运行速度更快的量子软件</a:t>
            </a:r>
            <a:endParaRPr lang="zh-CN" altLang="en-US" dirty="0"/>
          </a:p>
        </p:txBody>
      </p:sp>
      <p:cxnSp>
        <p:nvCxnSpPr>
          <p:cNvPr id="22" name="肘形连接符 21"/>
          <p:cNvCxnSpPr>
            <a:stCxn id="6" idx="3"/>
            <a:endCxn id="10" idx="1"/>
          </p:cNvCxnSpPr>
          <p:nvPr/>
        </p:nvCxnSpPr>
        <p:spPr>
          <a:xfrm flipV="1">
            <a:off x="1681279" y="1705228"/>
            <a:ext cx="694015" cy="185993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肘形连接符 24"/>
          <p:cNvCxnSpPr>
            <a:stCxn id="6" idx="3"/>
            <a:endCxn id="12" idx="1"/>
          </p:cNvCxnSpPr>
          <p:nvPr/>
        </p:nvCxnSpPr>
        <p:spPr>
          <a:xfrm flipV="1">
            <a:off x="1681279" y="2635196"/>
            <a:ext cx="705146" cy="92996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肘形连接符 26"/>
          <p:cNvCxnSpPr>
            <a:stCxn id="6" idx="3"/>
            <a:endCxn id="13" idx="1"/>
          </p:cNvCxnSpPr>
          <p:nvPr/>
        </p:nvCxnSpPr>
        <p:spPr>
          <a:xfrm>
            <a:off x="1681279" y="3565164"/>
            <a:ext cx="705146" cy="1270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肘形连接符 28"/>
          <p:cNvCxnSpPr>
            <a:stCxn id="6" idx="3"/>
            <a:endCxn id="14" idx="1"/>
          </p:cNvCxnSpPr>
          <p:nvPr/>
        </p:nvCxnSpPr>
        <p:spPr>
          <a:xfrm>
            <a:off x="1681279" y="3565164"/>
            <a:ext cx="694014" cy="92996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肘形连接符 30"/>
          <p:cNvCxnSpPr>
            <a:stCxn id="6" idx="3"/>
            <a:endCxn id="16" idx="1"/>
          </p:cNvCxnSpPr>
          <p:nvPr/>
        </p:nvCxnSpPr>
        <p:spPr>
          <a:xfrm>
            <a:off x="1681279" y="3565164"/>
            <a:ext cx="705146" cy="194964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8904192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i$ḷíḑê"/>
        <p:cNvGrpSpPr/>
        <p:nvPr/>
      </p:nvGrpSpPr>
      <p:grpSpPr>
        <a:xfrm>
          <a:off x="0" y="0"/>
          <a:ext cx="0" cy="0"/>
          <a:chOff x="0" y="0"/>
          <a:chExt cx="0" cy="0"/>
        </a:xfrm>
      </p:grpSpPr>
      <p:sp>
        <p:nvSpPr>
          <p:cNvPr id="5" name="íšľîḑê"/>
          <p:cNvSpPr>
            <a:spLocks noGrp="1"/>
          </p:cNvSpPr>
          <p:nvPr>
            <p:ph type="title"/>
          </p:nvPr>
        </p:nvSpPr>
        <p:spPr>
          <a:xfrm>
            <a:off x="4751615" y="3380413"/>
            <a:ext cx="5419185" cy="895350"/>
          </a:xfrm>
        </p:spPr>
        <p:txBody>
          <a:bodyPr/>
          <a:lstStyle/>
          <a:p>
            <a:r>
              <a:rPr lang="zh-CN" altLang="en-US" dirty="0"/>
              <a:t>了解量子计算</a:t>
            </a:r>
          </a:p>
        </p:txBody>
      </p:sp>
      <p:sp>
        <p:nvSpPr>
          <p:cNvPr id="9" name="iṧḻiḑe">
            <a:extLst>
              <a:ext uri="{FF2B5EF4-FFF2-40B4-BE49-F238E27FC236}">
                <a16:creationId xmlns:a16="http://schemas.microsoft.com/office/drawing/2014/main" id="{04F69230-F3A6-4586-9371-A858F4763E9F}"/>
              </a:ext>
            </a:extLst>
          </p:cNvPr>
          <p:cNvSpPr txBox="1"/>
          <p:nvPr/>
        </p:nvSpPr>
        <p:spPr>
          <a:xfrm>
            <a:off x="4751615" y="1566614"/>
            <a:ext cx="2141996" cy="1862386"/>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a:t>
            </a:r>
            <a:r>
              <a:rPr lang="en-US" altLang="zh-CN" sz="100" spc="100" dirty="0">
                <a:solidFill>
                  <a:schemeClr val="accent1"/>
                </a:solidFill>
                <a:latin typeface="Impact" panose="020B0806030902050204" pitchFamily="34" charset="0"/>
                <a:cs typeface="Arial" panose="020B0604020202020204" pitchFamily="34" charset="0"/>
              </a:rPr>
              <a:t> </a:t>
            </a:r>
            <a:r>
              <a:rPr lang="en-US" altLang="zh-CN" spc="100" dirty="0">
                <a:solidFill>
                  <a:schemeClr val="accent1"/>
                </a:solidFill>
                <a:latin typeface="Impact" panose="020B0806030902050204" pitchFamily="34" charset="0"/>
                <a:cs typeface="Arial" panose="020B0604020202020204" pitchFamily="34" charset="0"/>
              </a:rPr>
              <a:t>02</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24852075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2" name="íṣľiḑe">
            <a:extLst>
              <a:ext uri="{FF2B5EF4-FFF2-40B4-BE49-F238E27FC236}">
                <a16:creationId xmlns:a16="http://schemas.microsoft.com/office/drawing/2014/main" id="{8AC4395B-A0A0-4D81-B628-E4F9AB374736}"/>
              </a:ext>
            </a:extLst>
          </p:cNvPr>
          <p:cNvSpPr>
            <a:spLocks noGrp="1"/>
          </p:cNvSpPr>
          <p:nvPr>
            <p:ph type="title"/>
          </p:nvPr>
        </p:nvSpPr>
        <p:spPr/>
        <p:txBody>
          <a:bodyPr>
            <a:normAutofit/>
          </a:bodyPr>
          <a:lstStyle/>
          <a:p>
            <a:pPr lvl="0"/>
            <a:r>
              <a:rPr lang="zh-CN" altLang="en-US" dirty="0"/>
              <a:t>叠加与二进制计算</a:t>
            </a:r>
          </a:p>
        </p:txBody>
      </p:sp>
      <p:sp>
        <p:nvSpPr>
          <p:cNvPr id="4" name="ïṩḷidê">
            <a:extLst>
              <a:ext uri="{FF2B5EF4-FFF2-40B4-BE49-F238E27FC236}">
                <a16:creationId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7</a:t>
            </a:fld>
            <a:endParaRPr lang="zh-CN" altLang="en-US"/>
          </a:p>
        </p:txBody>
      </p:sp>
      <p:sp>
        <p:nvSpPr>
          <p:cNvPr id="5" name="矩形 4"/>
          <p:cNvSpPr/>
          <p:nvPr/>
        </p:nvSpPr>
        <p:spPr>
          <a:xfrm>
            <a:off x="669925" y="1582341"/>
            <a:ext cx="10850563" cy="2862322"/>
          </a:xfrm>
          <a:prstGeom prst="rect">
            <a:avLst/>
          </a:prstGeom>
        </p:spPr>
        <p:txBody>
          <a:bodyPr wrap="square">
            <a:spAutoFit/>
          </a:bodyPr>
          <a:lstStyle/>
          <a:p>
            <a:r>
              <a:rPr lang="zh-CN" altLang="en-US" dirty="0">
                <a:solidFill>
                  <a:srgbClr val="171717"/>
                </a:solidFill>
                <a:latin typeface="Segoe UI" panose="020B0502040204020203" pitchFamily="34" charset="0"/>
              </a:rPr>
              <a:t>假设你在客厅锻炼身体。 你一直向左转，然后一直向右转。 现在，同时向左转和向右转。 你无法做到这一点（至少要将自己一分为二）。 显然，你无法同时处于这两种状态，即无法同时向左和向右</a:t>
            </a:r>
            <a:endParaRPr lang="en-US" altLang="zh-CN" dirty="0">
              <a:solidFill>
                <a:srgbClr val="171717"/>
              </a:solidFill>
              <a:latin typeface="Segoe UI" panose="020B0502040204020203" pitchFamily="34" charset="0"/>
            </a:endParaRPr>
          </a:p>
          <a:p>
            <a:endParaRPr lang="zh-CN" altLang="en-US" dirty="0">
              <a:solidFill>
                <a:srgbClr val="171717"/>
              </a:solidFill>
              <a:latin typeface="Segoe UI" panose="020B0502040204020203" pitchFamily="34" charset="0"/>
            </a:endParaRPr>
          </a:p>
          <a:p>
            <a:r>
              <a:rPr lang="zh-CN" altLang="en-US" dirty="0">
                <a:solidFill>
                  <a:srgbClr val="171717"/>
                </a:solidFill>
                <a:latin typeface="Segoe UI" panose="020B0502040204020203" pitchFamily="34" charset="0"/>
              </a:rPr>
              <a:t>但如果你是量子粒子，由于一种称为</a:t>
            </a:r>
            <a:r>
              <a:rPr lang="zh-CN" altLang="en-US" dirty="0">
                <a:solidFill>
                  <a:srgbClr val="FF0000"/>
                </a:solidFill>
                <a:latin typeface="Segoe UI" panose="020B0502040204020203" pitchFamily="34" charset="0"/>
              </a:rPr>
              <a:t>叠加（也称为相干性）</a:t>
            </a:r>
            <a:r>
              <a:rPr lang="zh-CN" altLang="en-US" dirty="0">
                <a:solidFill>
                  <a:srgbClr val="171717"/>
                </a:solidFill>
                <a:latin typeface="Segoe UI" panose="020B0502040204020203" pitchFamily="34" charset="0"/>
              </a:rPr>
              <a:t>的现象，你可能具有一定的向左的概率和一定的向右的概率 </a:t>
            </a:r>
            <a:endParaRPr lang="en-US" altLang="zh-CN" dirty="0">
              <a:solidFill>
                <a:srgbClr val="171717"/>
              </a:solidFill>
              <a:latin typeface="Segoe UI" panose="020B0502040204020203" pitchFamily="34" charset="0"/>
            </a:endParaRPr>
          </a:p>
          <a:p>
            <a:endParaRPr lang="zh-CN" altLang="en-US" dirty="0">
              <a:solidFill>
                <a:srgbClr val="171717"/>
              </a:solidFill>
              <a:latin typeface="Segoe UI" panose="020B0502040204020203" pitchFamily="34" charset="0"/>
            </a:endParaRPr>
          </a:p>
          <a:p>
            <a:r>
              <a:rPr lang="zh-CN" altLang="en-US" dirty="0">
                <a:solidFill>
                  <a:srgbClr val="171717"/>
                </a:solidFill>
                <a:latin typeface="Segoe UI" panose="020B0502040204020203" pitchFamily="34" charset="0"/>
              </a:rPr>
              <a:t>量子粒子（例如电子）具有其自己的 “向左或向右” 属性（例如被称为向上或向下的自旋），或者使其与经典二进制计算更相关，比如说 </a:t>
            </a:r>
            <a:r>
              <a:rPr lang="en-US" altLang="zh-CN" dirty="0">
                <a:solidFill>
                  <a:srgbClr val="171717"/>
                </a:solidFill>
                <a:latin typeface="Segoe UI" panose="020B0502040204020203" pitchFamily="34" charset="0"/>
              </a:rPr>
              <a:t>1 </a:t>
            </a:r>
            <a:r>
              <a:rPr lang="zh-CN" altLang="en-US" dirty="0">
                <a:solidFill>
                  <a:srgbClr val="171717"/>
                </a:solidFill>
                <a:latin typeface="Segoe UI" panose="020B0502040204020203" pitchFamily="34" charset="0"/>
              </a:rPr>
              <a:t>或 </a:t>
            </a:r>
            <a:r>
              <a:rPr lang="en-US" altLang="zh-CN" dirty="0">
                <a:solidFill>
                  <a:srgbClr val="171717"/>
                </a:solidFill>
                <a:latin typeface="Segoe UI" panose="020B0502040204020203" pitchFamily="34" charset="0"/>
              </a:rPr>
              <a:t>0</a:t>
            </a:r>
            <a:r>
              <a:rPr lang="zh-CN" altLang="en-US" dirty="0">
                <a:solidFill>
                  <a:srgbClr val="171717"/>
                </a:solidFill>
                <a:latin typeface="Segoe UI" panose="020B0502040204020203" pitchFamily="34" charset="0"/>
              </a:rPr>
              <a:t>。 当量子粒子处于叠加状态时，它是介于 </a:t>
            </a:r>
            <a:r>
              <a:rPr lang="en-US" altLang="zh-CN" dirty="0">
                <a:solidFill>
                  <a:srgbClr val="171717"/>
                </a:solidFill>
                <a:latin typeface="Segoe UI" panose="020B0502040204020203" pitchFamily="34" charset="0"/>
              </a:rPr>
              <a:t>1 </a:t>
            </a:r>
            <a:r>
              <a:rPr lang="zh-CN" altLang="en-US" dirty="0">
                <a:solidFill>
                  <a:srgbClr val="171717"/>
                </a:solidFill>
                <a:latin typeface="Segoe UI" panose="020B0502040204020203" pitchFamily="34" charset="0"/>
              </a:rPr>
              <a:t>和 </a:t>
            </a:r>
            <a:r>
              <a:rPr lang="en-US" altLang="zh-CN" dirty="0">
                <a:solidFill>
                  <a:srgbClr val="171717"/>
                </a:solidFill>
                <a:latin typeface="Segoe UI" panose="020B0502040204020203" pitchFamily="34" charset="0"/>
              </a:rPr>
              <a:t>0 </a:t>
            </a:r>
            <a:r>
              <a:rPr lang="zh-CN" altLang="en-US" dirty="0">
                <a:solidFill>
                  <a:srgbClr val="171717"/>
                </a:solidFill>
                <a:latin typeface="Segoe UI" panose="020B0502040204020203" pitchFamily="34" charset="0"/>
              </a:rPr>
              <a:t>之间的无数个状态的线性组合，但只有在你实际观察它时，你才知道它的状态，这又会涉及到我们要讲的下一种现象，即量子测量</a:t>
            </a:r>
            <a:endParaRPr lang="zh-CN" altLang="en-US" b="0" i="0" dirty="0">
              <a:solidFill>
                <a:srgbClr val="171717"/>
              </a:solidFill>
              <a:effectLst/>
              <a:latin typeface="Segoe UI" panose="020B0502040204020203" pitchFamily="34" charset="0"/>
            </a:endParaRPr>
          </a:p>
        </p:txBody>
      </p:sp>
    </p:spTree>
    <p:custDataLst>
      <p:tags r:id="rId1"/>
    </p:custDataLst>
    <p:extLst>
      <p:ext uri="{BB962C8B-B14F-4D97-AF65-F5344CB8AC3E}">
        <p14:creationId xmlns:p14="http://schemas.microsoft.com/office/powerpoint/2010/main" val="37751252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2" name="íṣľiḑe">
            <a:extLst>
              <a:ext uri="{FF2B5EF4-FFF2-40B4-BE49-F238E27FC236}">
                <a16:creationId xmlns:a16="http://schemas.microsoft.com/office/drawing/2014/main" id="{8AC4395B-A0A0-4D81-B628-E4F9AB374736}"/>
              </a:ext>
            </a:extLst>
          </p:cNvPr>
          <p:cNvSpPr>
            <a:spLocks noGrp="1"/>
          </p:cNvSpPr>
          <p:nvPr>
            <p:ph type="title"/>
          </p:nvPr>
        </p:nvSpPr>
        <p:spPr/>
        <p:txBody>
          <a:bodyPr>
            <a:normAutofit/>
          </a:bodyPr>
          <a:lstStyle/>
          <a:p>
            <a:pPr lvl="0"/>
            <a:r>
              <a:rPr lang="zh-CN" altLang="en-US" dirty="0"/>
              <a:t>量子测量</a:t>
            </a:r>
          </a:p>
        </p:txBody>
      </p:sp>
      <p:sp>
        <p:nvSpPr>
          <p:cNvPr id="4" name="ïṩḷidê">
            <a:extLst>
              <a:ext uri="{FF2B5EF4-FFF2-40B4-BE49-F238E27FC236}">
                <a16:creationId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8</a:t>
            </a:fld>
            <a:endParaRPr lang="zh-CN" altLang="en-US"/>
          </a:p>
        </p:txBody>
      </p:sp>
      <p:sp>
        <p:nvSpPr>
          <p:cNvPr id="3" name="矩形 2"/>
          <p:cNvSpPr/>
          <p:nvPr/>
        </p:nvSpPr>
        <p:spPr>
          <a:xfrm>
            <a:off x="669924" y="1443841"/>
            <a:ext cx="10850564" cy="3139321"/>
          </a:xfrm>
          <a:prstGeom prst="rect">
            <a:avLst/>
          </a:prstGeom>
        </p:spPr>
        <p:txBody>
          <a:bodyPr wrap="square">
            <a:spAutoFit/>
          </a:bodyPr>
          <a:lstStyle/>
          <a:p>
            <a:r>
              <a:rPr lang="zh-CN" altLang="en-US" dirty="0">
                <a:solidFill>
                  <a:srgbClr val="171717"/>
                </a:solidFill>
                <a:latin typeface="Segoe UI" panose="020B0502040204020203" pitchFamily="34" charset="0"/>
              </a:rPr>
              <a:t>现在，假设你的朋友来了，并且想拍下你锻炼身体的照片。 最有可能的是，他们拍下的照片是介于你一直向左转和一直向右转之间的某个位置的模糊图像</a:t>
            </a:r>
            <a:endParaRPr lang="en-US" altLang="zh-CN" dirty="0">
              <a:solidFill>
                <a:srgbClr val="171717"/>
              </a:solidFill>
              <a:latin typeface="Segoe UI" panose="020B0502040204020203" pitchFamily="34" charset="0"/>
            </a:endParaRPr>
          </a:p>
          <a:p>
            <a:endParaRPr lang="zh-CN" altLang="en-US" dirty="0">
              <a:solidFill>
                <a:srgbClr val="171717"/>
              </a:solidFill>
              <a:latin typeface="Segoe UI" panose="020B0502040204020203" pitchFamily="34" charset="0"/>
            </a:endParaRPr>
          </a:p>
          <a:p>
            <a:r>
              <a:rPr lang="zh-CN" altLang="en-US" dirty="0">
                <a:solidFill>
                  <a:srgbClr val="171717"/>
                </a:solidFill>
                <a:latin typeface="Segoe UI" panose="020B0502040204020203" pitchFamily="34" charset="0"/>
              </a:rPr>
              <a:t>但是，如果你是量子粒子，就会发生一件有趣的事情。 当他们拍照时无论你在哪个位置，照片都将始终显示向左转或向右转，而不会介于两者之间</a:t>
            </a:r>
            <a:endParaRPr lang="en-US" altLang="zh-CN" dirty="0">
              <a:solidFill>
                <a:srgbClr val="171717"/>
              </a:solidFill>
              <a:latin typeface="Segoe UI" panose="020B0502040204020203" pitchFamily="34" charset="0"/>
            </a:endParaRPr>
          </a:p>
          <a:p>
            <a:endParaRPr lang="zh-CN" altLang="en-US" dirty="0">
              <a:solidFill>
                <a:srgbClr val="171717"/>
              </a:solidFill>
              <a:latin typeface="Segoe UI" panose="020B0502040204020203" pitchFamily="34" charset="0"/>
            </a:endParaRPr>
          </a:p>
          <a:p>
            <a:r>
              <a:rPr lang="zh-CN" altLang="en-US" dirty="0">
                <a:solidFill>
                  <a:srgbClr val="171717"/>
                </a:solidFill>
                <a:latin typeface="Segoe UI" panose="020B0502040204020203" pitchFamily="34" charset="0"/>
              </a:rPr>
              <a:t>这是因为观察或测量</a:t>
            </a:r>
            <a:r>
              <a:rPr lang="zh-CN" altLang="en-US" dirty="0">
                <a:solidFill>
                  <a:srgbClr val="FF0000"/>
                </a:solidFill>
                <a:latin typeface="Segoe UI" panose="020B0502040204020203" pitchFamily="34" charset="0"/>
              </a:rPr>
              <a:t>瞬间</a:t>
            </a:r>
            <a:r>
              <a:rPr lang="zh-CN" altLang="en-US" dirty="0">
                <a:solidFill>
                  <a:srgbClr val="171717"/>
                </a:solidFill>
                <a:latin typeface="Segoe UI" panose="020B0502040204020203" pitchFamily="34" charset="0"/>
              </a:rPr>
              <a:t>量子粒子会使叠加状态</a:t>
            </a:r>
            <a:r>
              <a:rPr lang="zh-CN" altLang="en-US" dirty="0">
                <a:solidFill>
                  <a:srgbClr val="FF0000"/>
                </a:solidFill>
                <a:latin typeface="Segoe UI" panose="020B0502040204020203" pitchFamily="34" charset="0"/>
              </a:rPr>
              <a:t>坍缩（也称为退相干） </a:t>
            </a:r>
            <a:r>
              <a:rPr lang="zh-CN" altLang="en-US" dirty="0">
                <a:solidFill>
                  <a:srgbClr val="171717"/>
                </a:solidFill>
                <a:latin typeface="Segoe UI" panose="020B0502040204020203" pitchFamily="34" charset="0"/>
              </a:rPr>
              <a:t>，并且粒子呈现 </a:t>
            </a:r>
            <a:r>
              <a:rPr lang="en-US" altLang="zh-CN" dirty="0">
                <a:solidFill>
                  <a:srgbClr val="171717"/>
                </a:solidFill>
                <a:latin typeface="Segoe UI" panose="020B0502040204020203" pitchFamily="34" charset="0"/>
              </a:rPr>
              <a:t>1 </a:t>
            </a:r>
            <a:r>
              <a:rPr lang="zh-CN" altLang="en-US" dirty="0">
                <a:solidFill>
                  <a:srgbClr val="171717"/>
                </a:solidFill>
                <a:latin typeface="Segoe UI" panose="020B0502040204020203" pitchFamily="34" charset="0"/>
              </a:rPr>
              <a:t>或 </a:t>
            </a:r>
            <a:r>
              <a:rPr lang="en-US" altLang="zh-CN" dirty="0">
                <a:solidFill>
                  <a:srgbClr val="171717"/>
                </a:solidFill>
                <a:latin typeface="Segoe UI" panose="020B0502040204020203" pitchFamily="34" charset="0"/>
              </a:rPr>
              <a:t>0 </a:t>
            </a:r>
            <a:r>
              <a:rPr lang="zh-CN" altLang="en-US" dirty="0">
                <a:solidFill>
                  <a:srgbClr val="171717"/>
                </a:solidFill>
                <a:latin typeface="Segoe UI" panose="020B0502040204020203" pitchFamily="34" charset="0"/>
              </a:rPr>
              <a:t>的经典二元状态 。这种二进制状态对我们很有帮助，因为在计算中，你可以在 </a:t>
            </a:r>
            <a:r>
              <a:rPr lang="en-US" altLang="zh-CN" dirty="0">
                <a:solidFill>
                  <a:srgbClr val="171717"/>
                </a:solidFill>
                <a:latin typeface="Segoe UI" panose="020B0502040204020203" pitchFamily="34" charset="0"/>
              </a:rPr>
              <a:t>1 </a:t>
            </a:r>
            <a:r>
              <a:rPr lang="zh-CN" altLang="en-US" dirty="0">
                <a:solidFill>
                  <a:srgbClr val="171717"/>
                </a:solidFill>
                <a:latin typeface="Segoe UI" panose="020B0502040204020203" pitchFamily="34" charset="0"/>
              </a:rPr>
              <a:t>和 </a:t>
            </a:r>
            <a:r>
              <a:rPr lang="en-US" altLang="zh-CN" dirty="0">
                <a:solidFill>
                  <a:srgbClr val="171717"/>
                </a:solidFill>
                <a:latin typeface="Segoe UI" panose="020B0502040204020203" pitchFamily="34" charset="0"/>
              </a:rPr>
              <a:t>0 </a:t>
            </a:r>
            <a:r>
              <a:rPr lang="zh-CN" altLang="en-US" dirty="0">
                <a:solidFill>
                  <a:srgbClr val="171717"/>
                </a:solidFill>
                <a:latin typeface="Segoe UI" panose="020B0502040204020203" pitchFamily="34" charset="0"/>
              </a:rPr>
              <a:t>的状态下执行许多操作。 但是，在</a:t>
            </a:r>
            <a:r>
              <a:rPr lang="zh-CN" altLang="en-US" dirty="0">
                <a:solidFill>
                  <a:srgbClr val="FF0000"/>
                </a:solidFill>
                <a:latin typeface="Segoe UI" panose="020B0502040204020203" pitchFamily="34" charset="0"/>
              </a:rPr>
              <a:t>量子粒子经过测量和坍缩后，它将永远保持该状态</a:t>
            </a:r>
            <a:r>
              <a:rPr lang="zh-CN" altLang="en-US" dirty="0">
                <a:latin typeface="Segoe UI" panose="020B0502040204020203" pitchFamily="34" charset="0"/>
              </a:rPr>
              <a:t>（就像你的照片一样），并且始终为 </a:t>
            </a:r>
            <a:r>
              <a:rPr lang="en-US" altLang="zh-CN" dirty="0">
                <a:latin typeface="Segoe UI" panose="020B0502040204020203" pitchFamily="34" charset="0"/>
              </a:rPr>
              <a:t>1 </a:t>
            </a:r>
            <a:r>
              <a:rPr lang="zh-CN" altLang="en-US" dirty="0">
                <a:latin typeface="Segoe UI" panose="020B0502040204020203" pitchFamily="34" charset="0"/>
              </a:rPr>
              <a:t>或 </a:t>
            </a:r>
            <a:r>
              <a:rPr lang="en-US" altLang="zh-CN" dirty="0">
                <a:latin typeface="Segoe UI" panose="020B0502040204020203" pitchFamily="34" charset="0"/>
              </a:rPr>
              <a:t>0</a:t>
            </a:r>
            <a:r>
              <a:rPr lang="zh-CN" altLang="en-US" dirty="0">
                <a:solidFill>
                  <a:srgbClr val="171717"/>
                </a:solidFill>
                <a:latin typeface="Segoe UI" panose="020B0502040204020203" pitchFamily="34" charset="0"/>
              </a:rPr>
              <a:t>。 不过，正如你稍后将看到的那样，在量子计算中，有些操作可以将粒子 </a:t>
            </a:r>
            <a:r>
              <a:rPr lang="zh-CN" altLang="en-US" dirty="0">
                <a:solidFill>
                  <a:srgbClr val="FF0000"/>
                </a:solidFill>
                <a:latin typeface="Segoe UI" panose="020B0502040204020203" pitchFamily="34" charset="0"/>
              </a:rPr>
              <a:t>“重置”</a:t>
            </a:r>
            <a:r>
              <a:rPr lang="zh-CN" altLang="en-US" dirty="0">
                <a:solidFill>
                  <a:srgbClr val="171717"/>
                </a:solidFill>
                <a:latin typeface="Segoe UI" panose="020B0502040204020203" pitchFamily="34" charset="0"/>
              </a:rPr>
              <a:t> 为叠加状态，因此可以再次使用它进行量子计算</a:t>
            </a:r>
            <a:endParaRPr lang="zh-CN" altLang="en-US" b="0" i="0" dirty="0">
              <a:solidFill>
                <a:srgbClr val="171717"/>
              </a:solidFill>
              <a:effectLst/>
              <a:latin typeface="Segoe UI" panose="020B0502040204020203" pitchFamily="34" charset="0"/>
            </a:endParaRPr>
          </a:p>
        </p:txBody>
      </p:sp>
    </p:spTree>
    <p:custDataLst>
      <p:tags r:id="rId1"/>
    </p:custDataLst>
    <p:extLst>
      <p:ext uri="{BB962C8B-B14F-4D97-AF65-F5344CB8AC3E}">
        <p14:creationId xmlns:p14="http://schemas.microsoft.com/office/powerpoint/2010/main" val="19180205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ïṡḻiḑè"/>
        <p:cNvGrpSpPr/>
        <p:nvPr/>
      </p:nvGrpSpPr>
      <p:grpSpPr>
        <a:xfrm>
          <a:off x="0" y="0"/>
          <a:ext cx="0" cy="0"/>
          <a:chOff x="0" y="0"/>
          <a:chExt cx="0" cy="0"/>
        </a:xfrm>
      </p:grpSpPr>
      <p:sp>
        <p:nvSpPr>
          <p:cNvPr id="2" name="íṣľiḑe">
            <a:extLst>
              <a:ext uri="{FF2B5EF4-FFF2-40B4-BE49-F238E27FC236}">
                <a16:creationId xmlns:a16="http://schemas.microsoft.com/office/drawing/2014/main" id="{8AC4395B-A0A0-4D81-B628-E4F9AB374736}"/>
              </a:ext>
            </a:extLst>
          </p:cNvPr>
          <p:cNvSpPr>
            <a:spLocks noGrp="1"/>
          </p:cNvSpPr>
          <p:nvPr>
            <p:ph type="title"/>
          </p:nvPr>
        </p:nvSpPr>
        <p:spPr/>
        <p:txBody>
          <a:bodyPr>
            <a:normAutofit/>
          </a:bodyPr>
          <a:lstStyle/>
          <a:p>
            <a:pPr lvl="0"/>
            <a:r>
              <a:rPr lang="zh-CN" altLang="en-US" dirty="0"/>
              <a:t>量子纠缠</a:t>
            </a:r>
          </a:p>
        </p:txBody>
      </p:sp>
      <p:sp>
        <p:nvSpPr>
          <p:cNvPr id="4" name="ïṩḷidê">
            <a:extLst>
              <a:ext uri="{FF2B5EF4-FFF2-40B4-BE49-F238E27FC236}">
                <a16:creationId xmlns:a16="http://schemas.microsoft.com/office/drawing/2014/main" id="{625D0406-0787-4EE6-9393-820D5CE03187}"/>
              </a:ext>
            </a:extLst>
          </p:cNvPr>
          <p:cNvSpPr>
            <a:spLocks noGrp="1"/>
          </p:cNvSpPr>
          <p:nvPr>
            <p:ph type="sldNum" sz="quarter" idx="12"/>
          </p:nvPr>
        </p:nvSpPr>
        <p:spPr/>
        <p:txBody>
          <a:bodyPr/>
          <a:lstStyle/>
          <a:p>
            <a:fld id="{5DD3DB80-B894-403A-B48E-6FDC1A72010E}" type="slidenum">
              <a:rPr lang="zh-CN" altLang="en-US" smtClean="0"/>
              <a:pPr/>
              <a:t>9</a:t>
            </a:fld>
            <a:endParaRPr lang="zh-CN" altLang="en-US"/>
          </a:p>
        </p:txBody>
      </p:sp>
      <p:sp>
        <p:nvSpPr>
          <p:cNvPr id="5" name="矩形 4"/>
          <p:cNvSpPr/>
          <p:nvPr/>
        </p:nvSpPr>
        <p:spPr>
          <a:xfrm>
            <a:off x="669925" y="1859340"/>
            <a:ext cx="10850562" cy="2862322"/>
          </a:xfrm>
          <a:prstGeom prst="rect">
            <a:avLst/>
          </a:prstGeom>
        </p:spPr>
        <p:txBody>
          <a:bodyPr wrap="square">
            <a:spAutoFit/>
          </a:bodyPr>
          <a:lstStyle/>
          <a:p>
            <a:r>
              <a:rPr lang="zh-CN" altLang="en-US" dirty="0">
                <a:solidFill>
                  <a:srgbClr val="171717"/>
                </a:solidFill>
                <a:latin typeface="Segoe UI" panose="020B0502040204020203" pitchFamily="34" charset="0"/>
              </a:rPr>
              <a:t>量子力学中最有趣的现象可能是两个或多个量子粒子彼此纠缠。 当粒子纠缠在一起时，它们会形成单个系统，因此不能独立于其他粒子的量子状态来描述任何一个粒子的量子状态。 这意味着，对一个粒子应用的任何操作或过程也会与其他粒子相关</a:t>
            </a:r>
            <a:endParaRPr lang="en-US" altLang="zh-CN" dirty="0">
              <a:solidFill>
                <a:srgbClr val="171717"/>
              </a:solidFill>
              <a:latin typeface="Segoe UI" panose="020B0502040204020203" pitchFamily="34" charset="0"/>
            </a:endParaRPr>
          </a:p>
          <a:p>
            <a:endParaRPr lang="zh-CN" altLang="en-US" dirty="0">
              <a:solidFill>
                <a:srgbClr val="171717"/>
              </a:solidFill>
              <a:latin typeface="Segoe UI" panose="020B0502040204020203" pitchFamily="34" charset="0"/>
            </a:endParaRPr>
          </a:p>
          <a:p>
            <a:r>
              <a:rPr lang="zh-CN" altLang="en-US" dirty="0">
                <a:solidFill>
                  <a:srgbClr val="171717"/>
                </a:solidFill>
                <a:latin typeface="Segoe UI" panose="020B0502040204020203" pitchFamily="34" charset="0"/>
              </a:rPr>
              <a:t>除了这种相互依赖性，粒子甚至还可以在相距甚远的距离（甚至是光年）也可以保持这种连接。 </a:t>
            </a:r>
            <a:r>
              <a:rPr lang="zh-CN" altLang="en-US" dirty="0">
                <a:solidFill>
                  <a:srgbClr val="FF0000"/>
                </a:solidFill>
                <a:latin typeface="Segoe UI" panose="020B0502040204020203" pitchFamily="34" charset="0"/>
              </a:rPr>
              <a:t>量子测量的效果也适用于纠缠的粒子</a:t>
            </a:r>
            <a:r>
              <a:rPr lang="zh-CN" altLang="en-US" dirty="0">
                <a:solidFill>
                  <a:srgbClr val="171717"/>
                </a:solidFill>
                <a:latin typeface="Segoe UI" panose="020B0502040204020203" pitchFamily="34" charset="0"/>
              </a:rPr>
              <a:t>，因此当一个粒子经过测量和坍缩后，其他粒子也将坍缩。 由于纠缠的量子比特之间存在相干性，因此测量一个量子比特的状态可以提供有关其他量子比特的状态的信息，这种特殊的属性在量子计算中非常有用</a:t>
            </a:r>
            <a:endParaRPr lang="en-US" altLang="zh-CN" dirty="0">
              <a:solidFill>
                <a:srgbClr val="171717"/>
              </a:solidFill>
              <a:latin typeface="Segoe UI" panose="020B0502040204020203" pitchFamily="34" charset="0"/>
            </a:endParaRPr>
          </a:p>
          <a:p>
            <a:endParaRPr lang="en-US" altLang="zh-CN" b="0" i="0" dirty="0">
              <a:solidFill>
                <a:srgbClr val="171717"/>
              </a:solidFill>
              <a:effectLst/>
              <a:latin typeface="Segoe UI" panose="020B0502040204020203" pitchFamily="34" charset="0"/>
            </a:endParaRPr>
          </a:p>
          <a:p>
            <a:r>
              <a:rPr lang="zh-CN" altLang="en-US" dirty="0">
                <a:solidFill>
                  <a:srgbClr val="FF0000"/>
                </a:solidFill>
              </a:rPr>
              <a:t>超弦理论：弦论把量子纠缠解释为粒子在高维空间（只存在于普朗克尺度之下）中的三维投影</a:t>
            </a:r>
            <a:endParaRPr lang="zh-CN" altLang="en-US" b="0" i="0" dirty="0">
              <a:solidFill>
                <a:srgbClr val="FF0000"/>
              </a:solidFill>
              <a:effectLst/>
              <a:latin typeface="Segoe UI" panose="020B0502040204020203" pitchFamily="34" charset="0"/>
            </a:endParaRPr>
          </a:p>
        </p:txBody>
      </p:sp>
    </p:spTree>
    <p:custDataLst>
      <p:tags r:id="rId1"/>
    </p:custDataLst>
    <p:extLst>
      <p:ext uri="{BB962C8B-B14F-4D97-AF65-F5344CB8AC3E}">
        <p14:creationId xmlns:p14="http://schemas.microsoft.com/office/powerpoint/2010/main" val="31201028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THEME" val="#382980"/>
</p:tagLst>
</file>

<file path=ppt/tags/tag10.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1.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xml><?xml version="1.0" encoding="utf-8"?>
<p:tagLst xmlns:a="http://schemas.openxmlformats.org/drawingml/2006/main" xmlns:r="http://schemas.openxmlformats.org/officeDocument/2006/relationships" xmlns:p="http://schemas.openxmlformats.org/presentationml/2006/main">
  <p:tag name="ISLIDE.VECTOR" val="dde2c2de-4721-42d5-ad7a-0e7cc1010371"/>
</p:tagLst>
</file>

<file path=ppt/tags/tag20.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1.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0.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1.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heme/theme1.xml><?xml version="1.0" encoding="utf-8"?>
<a:theme xmlns:a="http://schemas.openxmlformats.org/drawingml/2006/main" name="主题5">
  <a:themeElements>
    <a:clrScheme name="二月资源主题">
      <a:dk1>
        <a:srgbClr val="000000"/>
      </a:dk1>
      <a:lt1>
        <a:srgbClr val="FFFFFF"/>
      </a:lt1>
      <a:dk2>
        <a:srgbClr val="768394"/>
      </a:dk2>
      <a:lt2>
        <a:srgbClr val="F0F0F0"/>
      </a:lt2>
      <a:accent1>
        <a:srgbClr val="0E1B3D"/>
      </a:accent1>
      <a:accent2>
        <a:srgbClr val="3C4D7A"/>
      </a:accent2>
      <a:accent3>
        <a:srgbClr val="FDBE11"/>
      </a:accent3>
      <a:accent4>
        <a:srgbClr val="7F7F7F"/>
      </a:accent4>
      <a:accent5>
        <a:srgbClr val="A5A5A5"/>
      </a:accent5>
      <a:accent6>
        <a:srgbClr val="C9C9C9"/>
      </a:accent6>
      <a:hlink>
        <a:srgbClr val="A40926"/>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二月资源主题">
    <a:dk1>
      <a:srgbClr val="000000"/>
    </a:dk1>
    <a:lt1>
      <a:srgbClr val="FFFFFF"/>
    </a:lt1>
    <a:dk2>
      <a:srgbClr val="768394"/>
    </a:dk2>
    <a:lt2>
      <a:srgbClr val="F0F0F0"/>
    </a:lt2>
    <a:accent1>
      <a:srgbClr val="0E1B3D"/>
    </a:accent1>
    <a:accent2>
      <a:srgbClr val="3C4D7A"/>
    </a:accent2>
    <a:accent3>
      <a:srgbClr val="FDBE11"/>
    </a:accent3>
    <a:accent4>
      <a:srgbClr val="7F7F7F"/>
    </a:accent4>
    <a:accent5>
      <a:srgbClr val="A5A5A5"/>
    </a:accent5>
    <a:accent6>
      <a:srgbClr val="C9C9C9"/>
    </a:accent6>
    <a:hlink>
      <a:srgbClr val="A40926"/>
    </a:hlink>
    <a:folHlink>
      <a:srgbClr val="BFBFBF"/>
    </a:folHlink>
  </a:clrScheme>
</a:themeOverride>
</file>

<file path=ppt/theme/themeOverride2.xml><?xml version="1.0" encoding="utf-8"?>
<a:themeOverride xmlns:a="http://schemas.openxmlformats.org/drawingml/2006/main">
  <a:clrScheme name="二月资源主题">
    <a:dk1>
      <a:srgbClr val="000000"/>
    </a:dk1>
    <a:lt1>
      <a:srgbClr val="FFFFFF"/>
    </a:lt1>
    <a:dk2>
      <a:srgbClr val="768394"/>
    </a:dk2>
    <a:lt2>
      <a:srgbClr val="F0F0F0"/>
    </a:lt2>
    <a:accent1>
      <a:srgbClr val="0E1B3D"/>
    </a:accent1>
    <a:accent2>
      <a:srgbClr val="3C4D7A"/>
    </a:accent2>
    <a:accent3>
      <a:srgbClr val="FDBE11"/>
    </a:accent3>
    <a:accent4>
      <a:srgbClr val="7F7F7F"/>
    </a:accent4>
    <a:accent5>
      <a:srgbClr val="A5A5A5"/>
    </a:accent5>
    <a:accent6>
      <a:srgbClr val="C9C9C9"/>
    </a:accent6>
    <a:hlink>
      <a:srgbClr val="A40926"/>
    </a:hlink>
    <a:folHlink>
      <a:srgbClr val="BFBFBF"/>
    </a:folHlink>
  </a:clrScheme>
</a:themeOverride>
</file>

<file path=ppt/theme/themeOverride3.xml><?xml version="1.0" encoding="utf-8"?>
<a:themeOverride xmlns:a="http://schemas.openxmlformats.org/drawingml/2006/main">
  <a:clrScheme name="二月资源主题">
    <a:dk1>
      <a:srgbClr val="000000"/>
    </a:dk1>
    <a:lt1>
      <a:srgbClr val="FFFFFF"/>
    </a:lt1>
    <a:dk2>
      <a:srgbClr val="768394"/>
    </a:dk2>
    <a:lt2>
      <a:srgbClr val="F0F0F0"/>
    </a:lt2>
    <a:accent1>
      <a:srgbClr val="0E1B3D"/>
    </a:accent1>
    <a:accent2>
      <a:srgbClr val="3C4D7A"/>
    </a:accent2>
    <a:accent3>
      <a:srgbClr val="FDBE11"/>
    </a:accent3>
    <a:accent4>
      <a:srgbClr val="7F7F7F"/>
    </a:accent4>
    <a:accent5>
      <a:srgbClr val="A5A5A5"/>
    </a:accent5>
    <a:accent6>
      <a:srgbClr val="C9C9C9"/>
    </a:accent6>
    <a:hlink>
      <a:srgbClr val="A40926"/>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Yoyo</Template>
  <TotalTime>16215</TotalTime>
  <Words>7055</Words>
  <Application>Microsoft Office PowerPoint</Application>
  <PresentationFormat>宽屏</PresentationFormat>
  <Paragraphs>338</Paragraphs>
  <Slides>47</Slides>
  <Notes>28</Notes>
  <HiddenSlides>0</HiddenSlides>
  <MMClips>0</MMClips>
  <ScaleCrop>false</ScaleCrop>
  <HeadingPairs>
    <vt:vector size="8" baseType="variant">
      <vt:variant>
        <vt:lpstr>已用的字体</vt:lpstr>
      </vt:variant>
      <vt:variant>
        <vt:i4>10</vt:i4>
      </vt:variant>
      <vt:variant>
        <vt:lpstr>主题</vt:lpstr>
      </vt:variant>
      <vt:variant>
        <vt:i4>1</vt:i4>
      </vt:variant>
      <vt:variant>
        <vt:lpstr>嵌入 OLE 服务器</vt:lpstr>
      </vt:variant>
      <vt:variant>
        <vt:i4>1</vt:i4>
      </vt:variant>
      <vt:variant>
        <vt:lpstr>幻灯片标题</vt:lpstr>
      </vt:variant>
      <vt:variant>
        <vt:i4>47</vt:i4>
      </vt:variant>
    </vt:vector>
  </HeadingPairs>
  <TitlesOfParts>
    <vt:vector size="59" baseType="lpstr">
      <vt:lpstr>MJXc-TeX-math-I</vt:lpstr>
      <vt:lpstr>等线</vt:lpstr>
      <vt:lpstr>Microsoft Yahei</vt:lpstr>
      <vt:lpstr>Arial</vt:lpstr>
      <vt:lpstr>Arial</vt:lpstr>
      <vt:lpstr>Arial Black</vt:lpstr>
      <vt:lpstr>Calibri</vt:lpstr>
      <vt:lpstr>Cambria Math</vt:lpstr>
      <vt:lpstr>Impact</vt:lpstr>
      <vt:lpstr>Segoe UI</vt:lpstr>
      <vt:lpstr>主题5</vt:lpstr>
      <vt:lpstr>think-cell Slide</vt:lpstr>
      <vt:lpstr>量子计算理论</vt:lpstr>
      <vt:lpstr>PowerPoint 演示文稿</vt:lpstr>
      <vt:lpstr>量子计算简介</vt:lpstr>
      <vt:lpstr>什么是量子计算</vt:lpstr>
      <vt:lpstr>应用</vt:lpstr>
      <vt:lpstr>了解量子计算</vt:lpstr>
      <vt:lpstr>叠加与二进制计算</vt:lpstr>
      <vt:lpstr>量子测量</vt:lpstr>
      <vt:lpstr>量子纠缠</vt:lpstr>
      <vt:lpstr>量子纠缠</vt:lpstr>
      <vt:lpstr>量子纠缠</vt:lpstr>
      <vt:lpstr>量子比特和概率</vt:lpstr>
      <vt:lpstr>量子计算机和模拟器</vt:lpstr>
      <vt:lpstr>量子硬件</vt:lpstr>
      <vt:lpstr>量子计算</vt:lpstr>
      <vt:lpstr>用于量子计算的线性代数</vt:lpstr>
      <vt:lpstr>量子计算中的向量和矩阵</vt:lpstr>
      <vt:lpstr>量子计算中的向量和矩阵</vt:lpstr>
      <vt:lpstr>表示两个量子比特的状态</vt:lpstr>
      <vt:lpstr>有趣的物理实验</vt:lpstr>
      <vt:lpstr>双缝干涉实验真的诡异恐怖吗</vt:lpstr>
      <vt:lpstr>难道光子知道我们是否在观察它？</vt:lpstr>
      <vt:lpstr>无法解释！为什么不同测量方式光表现出不同的性质</vt:lpstr>
      <vt:lpstr>探测器“观察”光子会对光子造成影响吗？</vt:lpstr>
      <vt:lpstr>量子擦除实验（上）</vt:lpstr>
      <vt:lpstr>量子擦除实验（中）</vt:lpstr>
      <vt:lpstr>量子擦除实验（下）</vt:lpstr>
      <vt:lpstr>惠勒延迟选择实验</vt:lpstr>
      <vt:lpstr>惠勒延迟选择实验</vt:lpstr>
      <vt:lpstr>惠勒延迟选择实验</vt:lpstr>
      <vt:lpstr>延迟选择量子擦除实验</vt:lpstr>
      <vt:lpstr>延迟选择量子擦除实验</vt:lpstr>
      <vt:lpstr>延迟选择量子擦除实验</vt:lpstr>
      <vt:lpstr>延迟选择量子擦除实验</vt:lpstr>
      <vt:lpstr>量子导航</vt:lpstr>
      <vt:lpstr>量子力学系统的基本符号和性质</vt:lpstr>
      <vt:lpstr>量子信息论的概念</vt:lpstr>
      <vt:lpstr>量子信息论的概念</vt:lpstr>
      <vt:lpstr>量子信息论的概念</vt:lpstr>
      <vt:lpstr>用量子位算子控制移动机器人</vt:lpstr>
      <vt:lpstr>用量子位算子控制移动机器人</vt:lpstr>
      <vt:lpstr>用量子位算子控制移动机器人</vt:lpstr>
      <vt:lpstr>用量子位算子控制移动机器人</vt:lpstr>
      <vt:lpstr>用量子位算子控制移动机器人</vt:lpstr>
      <vt:lpstr>量子因子图</vt:lpstr>
      <vt:lpstr>量子因子图简介</vt:lpstr>
      <vt:lpstr>THANK S</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Yoyo</dc:creator>
  <cp:lastModifiedBy>Duan Shihong</cp:lastModifiedBy>
  <cp:revision>93</cp:revision>
  <cp:lastPrinted>2020-03-15T16:00:00Z</cp:lastPrinted>
  <dcterms:created xsi:type="dcterms:W3CDTF">2020-03-15T16:00:00Z</dcterms:created>
  <dcterms:modified xsi:type="dcterms:W3CDTF">2021-11-01T09:37: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